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15"/>
  </p:notesMasterIdLst>
  <p:sldIdLst>
    <p:sldId id="256" r:id="rId5"/>
    <p:sldId id="340" r:id="rId6"/>
    <p:sldId id="3559" r:id="rId7"/>
    <p:sldId id="467" r:id="rId8"/>
    <p:sldId id="369" r:id="rId9"/>
    <p:sldId id="418" r:id="rId10"/>
    <p:sldId id="3560" r:id="rId11"/>
    <p:sldId id="3562" r:id="rId12"/>
    <p:sldId id="3563" r:id="rId13"/>
    <p:sldId id="3564" r:id="rId14"/>
  </p:sldIdLst>
  <p:sldSz cx="12192000" cy="6858000"/>
  <p:notesSz cx="6797675" cy="9926638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709" userDrawn="1">
          <p15:clr>
            <a:srgbClr val="A4A3A4"/>
          </p15:clr>
        </p15:guide>
        <p15:guide id="4" pos="211" userDrawn="1">
          <p15:clr>
            <a:srgbClr val="A4A3A4"/>
          </p15:clr>
        </p15:guide>
        <p15:guide id="5" pos="7469" userDrawn="1">
          <p15:clr>
            <a:srgbClr val="A4A3A4"/>
          </p15:clr>
        </p15:guide>
        <p15:guide id="6" pos="1504" userDrawn="1">
          <p15:clr>
            <a:srgbClr val="A4A3A4"/>
          </p15:clr>
        </p15:guide>
        <p15:guide id="7" pos="5722" userDrawn="1">
          <p15:clr>
            <a:srgbClr val="A4A3A4"/>
          </p15:clr>
        </p15:guide>
        <p15:guide id="8" orient="horz" pos="3974" userDrawn="1">
          <p15:clr>
            <a:srgbClr val="A4A3A4"/>
          </p15:clr>
        </p15:guide>
        <p15:guide id="9" pos="3795" userDrawn="1">
          <p15:clr>
            <a:srgbClr val="A4A3A4"/>
          </p15:clr>
        </p15:guide>
        <p15:guide id="10" pos="388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5AFF38A-F25B-9B14-BE67-1657E01147B8}" name="이지수 매니저 CX스포츠1팀" initials="이C" userId="S::222010@innocean.com::e8878831-bb8f-46a3-98b1-8412a44bd59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1AF7C"/>
    <a:srgbClr val="FFFFFF"/>
    <a:srgbClr val="ED7100"/>
    <a:srgbClr val="004224"/>
    <a:srgbClr val="96DCF8"/>
    <a:srgbClr val="F37321"/>
    <a:srgbClr val="FFFFCC"/>
    <a:srgbClr val="E78D53"/>
    <a:srgbClr val="F2F2F2"/>
    <a:srgbClr val="FF99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보통 스타일 2 - 강조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보통 스타일 2 - 강조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보통 스타일 2 - 강조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605" autoAdjust="0"/>
    <p:restoredTop sz="96101" autoAdjust="0"/>
  </p:normalViewPr>
  <p:slideViewPr>
    <p:cSldViewPr snapToGrid="0">
      <p:cViewPr varScale="1">
        <p:scale>
          <a:sx n="109" d="100"/>
          <a:sy n="109" d="100"/>
        </p:scale>
        <p:origin x="690" y="114"/>
      </p:cViewPr>
      <p:guideLst>
        <p:guide orient="horz" pos="2183"/>
        <p:guide pos="3840"/>
        <p:guide orient="horz" pos="709"/>
        <p:guide pos="211"/>
        <p:guide pos="7469"/>
        <p:guide pos="1504"/>
        <p:guide pos="5722"/>
        <p:guide orient="horz" pos="3974"/>
        <p:guide pos="3795"/>
        <p:guide pos="3885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59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BAFBD5-F798-44D5-86C8-484C826FA36E}" type="datetimeFigureOut">
              <a:rPr lang="ko-KR" altLang="en-US" smtClean="0"/>
              <a:t>2024-07-24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97C11E-7830-4A53-91E8-99D1071172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402110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B97C11E-7830-4A53-91E8-99D1071172B4}" type="slidenum">
              <a:rPr lang="ko-KR" altLang="en-US" smtClean="0"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459982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97C11E-7830-4A53-91E8-99D1071172B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83579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B97C11E-7830-4A53-91E8-99D1071172B4}" type="slidenum">
              <a:rPr lang="ko-KR" altLang="en-US" smtClean="0"/>
              <a:t>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908077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B97C11E-7830-4A53-91E8-99D1071172B4}" type="slidenum">
              <a:rPr lang="ko-KR" altLang="en-US" smtClean="0"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793007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3.png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tags" Target="../tags/tag9.xml"/><Relationship Id="rId11" Type="http://schemas.openxmlformats.org/officeDocument/2006/relationships/oleObject" Target="../embeddings/oleObject3.bin"/><Relationship Id="rId5" Type="http://schemas.openxmlformats.org/officeDocument/2006/relationships/tags" Target="../tags/tag8.xml"/><Relationship Id="rId10" Type="http://schemas.openxmlformats.org/officeDocument/2006/relationships/image" Target="../media/image1.png"/><Relationship Id="rId4" Type="http://schemas.openxmlformats.org/officeDocument/2006/relationships/tags" Target="../tags/tag7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10" Type="http://schemas.openxmlformats.org/officeDocument/2006/relationships/image" Target="../media/image4.emf"/><Relationship Id="rId4" Type="http://schemas.openxmlformats.org/officeDocument/2006/relationships/tags" Target="../tags/tag13.xml"/><Relationship Id="rId9" Type="http://schemas.openxmlformats.org/officeDocument/2006/relationships/oleObject" Target="../embeddings/oleObject5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17.xml"/><Relationship Id="rId7" Type="http://schemas.openxmlformats.org/officeDocument/2006/relationships/oleObject" Target="../embeddings/oleObject6.bin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.xml"/><Relationship Id="rId4" Type="http://schemas.openxmlformats.org/officeDocument/2006/relationships/tags" Target="../tags/tag18.xml"/><Relationship Id="rId9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3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png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6" Type="http://schemas.openxmlformats.org/officeDocument/2006/relationships/tags" Target="../tags/tag24.xml"/><Relationship Id="rId11" Type="http://schemas.openxmlformats.org/officeDocument/2006/relationships/oleObject" Target="../embeddings/oleObject9.bin"/><Relationship Id="rId5" Type="http://schemas.openxmlformats.org/officeDocument/2006/relationships/tags" Target="../tags/tag23.xml"/><Relationship Id="rId10" Type="http://schemas.openxmlformats.org/officeDocument/2006/relationships/image" Target="../media/image1.png"/><Relationship Id="rId4" Type="http://schemas.openxmlformats.org/officeDocument/2006/relationships/tags" Target="../tags/tag22.xml"/><Relationship Id="rId9" Type="http://schemas.openxmlformats.org/officeDocument/2006/relationships/oleObject" Target="../embeddings/oleObject8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2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6.v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10" Type="http://schemas.openxmlformats.org/officeDocument/2006/relationships/image" Target="../media/image4.emf"/><Relationship Id="rId4" Type="http://schemas.openxmlformats.org/officeDocument/2006/relationships/tags" Target="../tags/tag28.xml"/><Relationship Id="rId9" Type="http://schemas.openxmlformats.org/officeDocument/2006/relationships/oleObject" Target="../embeddings/oleObject11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3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7.v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image" Target="../media/image4.emf"/><Relationship Id="rId4" Type="http://schemas.openxmlformats.org/officeDocument/2006/relationships/tags" Target="../tags/tag33.xml"/><Relationship Id="rId9" Type="http://schemas.openxmlformats.org/officeDocument/2006/relationships/oleObject" Target="../embeddings/oleObject11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37.xml"/><Relationship Id="rId7" Type="http://schemas.openxmlformats.org/officeDocument/2006/relationships/oleObject" Target="../embeddings/oleObject12.bin"/><Relationship Id="rId2" Type="http://schemas.openxmlformats.org/officeDocument/2006/relationships/tags" Target="../tags/tag36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9.xml"/><Relationship Id="rId4" Type="http://schemas.openxmlformats.org/officeDocument/2006/relationships/tags" Target="../tags/tag38.xml"/><Relationship Id="rId9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165" cy="1587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2" name="Object 9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65" cy="15871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5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211165" cy="158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34" tIns="60918" rIns="121834" bIns="60918"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eaLnBrk="1" fontAlgn="base" latinLnBrk="0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ko-KR" sz="160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sp>
        <p:nvSpPr>
          <p:cNvPr id="4" name="Rectangle 1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498172" y="6461217"/>
            <a:ext cx="431856" cy="304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0565" tIns="59225" rIns="120565" bIns="59225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fld id="{727E4BC0-E619-42A7-AA20-3D9E7A277CBE}" type="slidenum">
              <a:rPr lang="en-US" altLang="ko-KR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pPr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ko-KR" sz="120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cxnSp>
        <p:nvCxnSpPr>
          <p:cNvPr id="5" name="직선 연결선 4"/>
          <p:cNvCxnSpPr/>
          <p:nvPr/>
        </p:nvCxnSpPr>
        <p:spPr>
          <a:xfrm>
            <a:off x="1" y="858639"/>
            <a:ext cx="12192000" cy="0"/>
          </a:xfrm>
          <a:prstGeom prst="line">
            <a:avLst/>
          </a:prstGeom>
          <a:ln w="38100">
            <a:solidFill>
              <a:srgbClr val="F373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75689" y="6473914"/>
            <a:ext cx="1022483" cy="247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1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51590" y="6446932"/>
            <a:ext cx="1085259" cy="3042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0565" tIns="59225" rIns="120565" bIns="59225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algn="r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Confidential</a:t>
            </a:r>
          </a:p>
        </p:txBody>
      </p:sp>
      <p:sp>
        <p:nvSpPr>
          <p:cNvPr id="8" name="Title 3"/>
          <p:cNvSpPr txBox="1">
            <a:spLocks/>
          </p:cNvSpPr>
          <p:nvPr userDrawn="1">
            <p:custDataLst>
              <p:tags r:id="rId6"/>
            </p:custDataLst>
          </p:nvPr>
        </p:nvSpPr>
        <p:spPr bwMode="auto">
          <a:xfrm>
            <a:off x="360410" y="84119"/>
            <a:ext cx="9553231" cy="48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34" tIns="60918" rIns="121834" bIns="60918" anchor="ctr"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ko-KR" sz="2400" b="1">
              <a:solidFill>
                <a:srgbClr val="F37321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cxnSp>
        <p:nvCxnSpPr>
          <p:cNvPr id="9" name="직선 연결선 8"/>
          <p:cNvCxnSpPr/>
          <p:nvPr userDrawn="1"/>
        </p:nvCxnSpPr>
        <p:spPr bwMode="auto">
          <a:xfrm>
            <a:off x="1" y="6399318"/>
            <a:ext cx="12192000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graphicFrame>
        <p:nvGraphicFramePr>
          <p:cNvPr id="10" name="Object 14" hidden="1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0"/>
          <a:ext cx="211165" cy="1587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10" name="Object 14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65" cy="15871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직사각형 12"/>
          <p:cNvSpPr>
            <a:spLocks noChangeArrowheads="1"/>
          </p:cNvSpPr>
          <p:nvPr userDrawn="1"/>
        </p:nvSpPr>
        <p:spPr bwMode="auto">
          <a:xfrm>
            <a:off x="1" y="0"/>
            <a:ext cx="12192000" cy="685641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34" tIns="60918" rIns="121834" bIns="60918" anchor="ctr"/>
          <a:lstStyle>
            <a:lvl1pPr defTabSz="1217613" eaLnBrk="0" hangingPunct="0">
              <a:defRPr kumimoji="1" sz="1600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742950" indent="-285750" defTabSz="1217613" eaLnBrk="0" hangingPunct="0">
              <a:defRPr kumimoji="1" sz="1600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2pPr>
            <a:lvl3pPr marL="1143000" indent="-228600" defTabSz="1217613" eaLnBrk="0" hangingPunct="0">
              <a:defRPr kumimoji="1" sz="1600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3pPr>
            <a:lvl4pPr marL="1600200" indent="-228600" defTabSz="1217613" eaLnBrk="0" hangingPunct="0">
              <a:defRPr kumimoji="1" sz="1600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4pPr>
            <a:lvl5pPr marL="2057400" indent="-228600" defTabSz="1217613" eaLnBrk="0" hangingPunct="0">
              <a:defRPr kumimoji="1" sz="1600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9pPr>
          </a:lstStyle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endParaRPr kumimoji="0" lang="ko-KR" altLang="en-US" sz="160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pic>
        <p:nvPicPr>
          <p:cNvPr id="12" name="Picture 99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04962" y="2136280"/>
            <a:ext cx="4929830" cy="3986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3" descr="마크컬러"/>
          <p:cNvPicPr>
            <a:picLocks noChangeAspect="1" noChangeArrowheads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227" y="230135"/>
            <a:ext cx="2481586" cy="7840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599120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 smtClean="0"/>
              <a:t>클릭하여 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431B3F-5E4B-4880-93A6-74AC169A49F0}" type="datetimeFigureOut">
              <a:rPr lang="ko-KR" altLang="en-US" smtClean="0"/>
              <a:t>2024-07-24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36464F-473A-4879-8D3D-4F98029BD2E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602101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431B3F-5E4B-4880-93A6-74AC169A49F0}" type="datetimeFigureOut">
              <a:rPr lang="ko-KR" altLang="en-US" smtClean="0"/>
              <a:t>2024-07-24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36464F-473A-4879-8D3D-4F98029BD2E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357118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165" cy="1587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10" name="Object 9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65" cy="15871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5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211165" cy="158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34" tIns="60918" rIns="121834" bIns="60918"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eaLnBrk="1" fontAlgn="base" latinLnBrk="0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ko-KR" sz="160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sp>
        <p:nvSpPr>
          <p:cNvPr id="18" name="Rectangle 1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498172" y="6461217"/>
            <a:ext cx="431856" cy="304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0565" tIns="59225" rIns="120565" bIns="59225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fld id="{E6985D17-1C7C-4666-96FD-A8AAFEF9C09E}" type="slidenum">
              <a:rPr lang="en-US" altLang="ko-KR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pPr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ko-KR" sz="120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cxnSp>
        <p:nvCxnSpPr>
          <p:cNvPr id="19" name="직선 연결선 18"/>
          <p:cNvCxnSpPr/>
          <p:nvPr/>
        </p:nvCxnSpPr>
        <p:spPr>
          <a:xfrm>
            <a:off x="1" y="858639"/>
            <a:ext cx="12192000" cy="0"/>
          </a:xfrm>
          <a:prstGeom prst="line">
            <a:avLst/>
          </a:prstGeom>
          <a:ln w="38100">
            <a:solidFill>
              <a:srgbClr val="F373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le 3"/>
          <p:cNvSpPr txBox="1"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360410" y="84119"/>
            <a:ext cx="9553231" cy="48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34" tIns="60918" rIns="121834" bIns="60918" anchor="ctr"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ko-KR" sz="2400" b="1">
              <a:solidFill>
                <a:srgbClr val="F37321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cxnSp>
        <p:nvCxnSpPr>
          <p:cNvPr id="23" name="직선 연결선 22"/>
          <p:cNvCxnSpPr/>
          <p:nvPr userDrawn="1"/>
        </p:nvCxnSpPr>
        <p:spPr bwMode="auto">
          <a:xfrm>
            <a:off x="1" y="6399318"/>
            <a:ext cx="12192000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graphicFrame>
        <p:nvGraphicFramePr>
          <p:cNvPr id="24" name="Object 2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9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24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3"/>
          <p:cNvSpPr>
            <a:spLocks noGrp="1"/>
          </p:cNvSpPr>
          <p:nvPr>
            <p:ph type="title"/>
          </p:nvPr>
        </p:nvSpPr>
        <p:spPr>
          <a:xfrm>
            <a:off x="360850" y="268692"/>
            <a:ext cx="11486248" cy="485231"/>
          </a:xfrm>
          <a:prstGeom prst="rect">
            <a:avLst/>
          </a:prstGeom>
        </p:spPr>
        <p:txBody>
          <a:bodyPr lIns="121862" tIns="60932" rIns="121862" bIns="60932" anchor="ctr" anchorCtr="0"/>
          <a:lstStyle>
            <a:lvl1pPr>
              <a:defRPr sz="2799" b="1" baseline="0">
                <a:solidFill>
                  <a:schemeClr val="accent2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defRPr>
            </a:lvl1pPr>
          </a:lstStyle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16" name="텍스트 개체 틀 9"/>
          <p:cNvSpPr>
            <a:spLocks noGrp="1"/>
          </p:cNvSpPr>
          <p:nvPr>
            <p:ph type="body" sz="quarter" idx="16"/>
          </p:nvPr>
        </p:nvSpPr>
        <p:spPr>
          <a:xfrm>
            <a:off x="378211" y="920016"/>
            <a:ext cx="11469913" cy="369190"/>
          </a:xfrm>
          <a:prstGeom prst="rect">
            <a:avLst/>
          </a:prstGeom>
        </p:spPr>
        <p:txBody>
          <a:bodyPr wrap="square" lIns="121862" tIns="60932" rIns="121862" bIns="60932">
            <a:spAutoFit/>
          </a:bodyPr>
          <a:lstStyle>
            <a:lvl1pPr marL="0" indent="0">
              <a:buNone/>
              <a:defRPr sz="16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16888176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&amp; 1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165" cy="1587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10" name="Object 9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65" cy="15871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5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211165" cy="158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34" tIns="60918" rIns="121834" bIns="60918"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eaLnBrk="1" fontAlgn="base" latinLnBrk="0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ko-KR" sz="160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cxnSp>
        <p:nvCxnSpPr>
          <p:cNvPr id="19" name="직선 연결선 18"/>
          <p:cNvCxnSpPr/>
          <p:nvPr/>
        </p:nvCxnSpPr>
        <p:spPr>
          <a:xfrm>
            <a:off x="1" y="858639"/>
            <a:ext cx="12192000" cy="0"/>
          </a:xfrm>
          <a:prstGeom prst="line">
            <a:avLst/>
          </a:prstGeom>
          <a:ln w="38100">
            <a:solidFill>
              <a:srgbClr val="F373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le 3"/>
          <p:cNvSpPr txBox="1"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360410" y="84119"/>
            <a:ext cx="9553231" cy="48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34" tIns="60918" rIns="121834" bIns="60918" anchor="ctr"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ko-KR" sz="2400" b="1">
              <a:solidFill>
                <a:srgbClr val="F37321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cxnSp>
        <p:nvCxnSpPr>
          <p:cNvPr id="23" name="직선 연결선 22"/>
          <p:cNvCxnSpPr/>
          <p:nvPr userDrawn="1"/>
        </p:nvCxnSpPr>
        <p:spPr bwMode="auto">
          <a:xfrm>
            <a:off x="1" y="6399318"/>
            <a:ext cx="12192000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graphicFrame>
        <p:nvGraphicFramePr>
          <p:cNvPr id="24" name="Object 2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9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24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텍스트 개체 틀 9"/>
          <p:cNvSpPr>
            <a:spLocks noGrp="1"/>
          </p:cNvSpPr>
          <p:nvPr>
            <p:ph type="body" sz="quarter" idx="11"/>
          </p:nvPr>
        </p:nvSpPr>
        <p:spPr>
          <a:xfrm>
            <a:off x="393840" y="1919970"/>
            <a:ext cx="5787013" cy="596892"/>
          </a:xfrm>
          <a:prstGeom prst="rect">
            <a:avLst/>
          </a:prstGeom>
        </p:spPr>
        <p:txBody>
          <a:bodyPr lIns="121862" tIns="60932" rIns="121862" bIns="60932">
            <a:spAutoFit/>
          </a:bodyPr>
          <a:lstStyle>
            <a:lvl1pPr>
              <a:defRPr sz="1400">
                <a:latin typeface="맑은 고딕" panose="020B0503020000020004" pitchFamily="50" charset="-127"/>
              </a:defRPr>
            </a:lvl1pPr>
            <a:lvl2pPr>
              <a:defRPr sz="1400">
                <a:latin typeface="맑은 고딕" panose="020B0503020000020004" pitchFamily="50" charset="-127"/>
              </a:defRPr>
            </a:lvl2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</p:txBody>
      </p:sp>
      <p:sp>
        <p:nvSpPr>
          <p:cNvPr id="12" name="텍스트 개체 틀 9"/>
          <p:cNvSpPr>
            <a:spLocks noGrp="1"/>
          </p:cNvSpPr>
          <p:nvPr>
            <p:ph type="body" sz="quarter" idx="12"/>
          </p:nvPr>
        </p:nvSpPr>
        <p:spPr>
          <a:xfrm>
            <a:off x="393840" y="2707371"/>
            <a:ext cx="5787013" cy="596892"/>
          </a:xfrm>
          <a:prstGeom prst="rect">
            <a:avLst/>
          </a:prstGeom>
        </p:spPr>
        <p:txBody>
          <a:bodyPr lIns="121862" tIns="60932" rIns="121862" bIns="60932">
            <a:spAutoFit/>
          </a:bodyPr>
          <a:lstStyle>
            <a:lvl1pPr>
              <a:defRPr sz="1400">
                <a:latin typeface="맑은 고딕" panose="020B0503020000020004" pitchFamily="50" charset="-127"/>
              </a:defRPr>
            </a:lvl1pPr>
            <a:lvl2pPr>
              <a:defRPr sz="1400">
                <a:latin typeface="맑은 고딕" panose="020B0503020000020004" pitchFamily="50" charset="-127"/>
              </a:defRPr>
            </a:lvl2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</p:txBody>
      </p:sp>
      <p:sp>
        <p:nvSpPr>
          <p:cNvPr id="13" name="텍스트 개체 틀 9"/>
          <p:cNvSpPr>
            <a:spLocks noGrp="1"/>
          </p:cNvSpPr>
          <p:nvPr>
            <p:ph type="body" sz="quarter" idx="13"/>
          </p:nvPr>
        </p:nvSpPr>
        <p:spPr>
          <a:xfrm>
            <a:off x="393840" y="3507471"/>
            <a:ext cx="5787013" cy="596892"/>
          </a:xfrm>
          <a:prstGeom prst="rect">
            <a:avLst/>
          </a:prstGeom>
        </p:spPr>
        <p:txBody>
          <a:bodyPr lIns="121862" tIns="60932" rIns="121862" bIns="60932">
            <a:spAutoFit/>
          </a:bodyPr>
          <a:lstStyle>
            <a:lvl1pPr>
              <a:defRPr sz="1400">
                <a:latin typeface="맑은 고딕" panose="020B0503020000020004" pitchFamily="50" charset="-127"/>
              </a:defRPr>
            </a:lvl1pPr>
            <a:lvl2pPr>
              <a:defRPr sz="1400">
                <a:latin typeface="맑은 고딕" panose="020B0503020000020004" pitchFamily="50" charset="-127"/>
              </a:defRPr>
            </a:lvl2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</p:txBody>
      </p:sp>
      <p:sp>
        <p:nvSpPr>
          <p:cNvPr id="14" name="텍스트 개체 틀 9"/>
          <p:cNvSpPr>
            <a:spLocks noGrp="1"/>
          </p:cNvSpPr>
          <p:nvPr>
            <p:ph type="body" sz="quarter" idx="14"/>
          </p:nvPr>
        </p:nvSpPr>
        <p:spPr>
          <a:xfrm>
            <a:off x="393840" y="4294872"/>
            <a:ext cx="5787013" cy="596892"/>
          </a:xfrm>
          <a:prstGeom prst="rect">
            <a:avLst/>
          </a:prstGeom>
        </p:spPr>
        <p:txBody>
          <a:bodyPr lIns="121862" tIns="60932" rIns="121862" bIns="60932">
            <a:spAutoFit/>
          </a:bodyPr>
          <a:lstStyle>
            <a:lvl1pPr>
              <a:defRPr sz="1400">
                <a:latin typeface="맑은 고딕" panose="020B0503020000020004" pitchFamily="50" charset="-127"/>
              </a:defRPr>
            </a:lvl1pPr>
            <a:lvl2pPr>
              <a:defRPr sz="1400">
                <a:latin typeface="맑은 고딕" panose="020B0503020000020004" pitchFamily="50" charset="-127"/>
              </a:defRPr>
            </a:lvl2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</p:txBody>
      </p:sp>
      <p:sp>
        <p:nvSpPr>
          <p:cNvPr id="15" name="텍스트 개체 틀 9"/>
          <p:cNvSpPr>
            <a:spLocks noGrp="1"/>
          </p:cNvSpPr>
          <p:nvPr>
            <p:ph type="body" sz="quarter" idx="15"/>
          </p:nvPr>
        </p:nvSpPr>
        <p:spPr>
          <a:xfrm>
            <a:off x="393840" y="5082270"/>
            <a:ext cx="5787013" cy="596892"/>
          </a:xfrm>
          <a:prstGeom prst="rect">
            <a:avLst/>
          </a:prstGeom>
        </p:spPr>
        <p:txBody>
          <a:bodyPr lIns="121862" tIns="60932" rIns="121862" bIns="60932">
            <a:spAutoFit/>
          </a:bodyPr>
          <a:lstStyle>
            <a:lvl1pPr>
              <a:defRPr sz="1400">
                <a:latin typeface="맑은 고딕" panose="020B0503020000020004" pitchFamily="50" charset="-127"/>
              </a:defRPr>
            </a:lvl1pPr>
            <a:lvl2pPr>
              <a:defRPr sz="1400">
                <a:latin typeface="맑은 고딕" panose="020B0503020000020004" pitchFamily="50" charset="-127"/>
              </a:defRPr>
            </a:lvl2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</p:txBody>
      </p:sp>
      <p:sp>
        <p:nvSpPr>
          <p:cNvPr id="9" name="Title 3"/>
          <p:cNvSpPr>
            <a:spLocks noGrp="1"/>
          </p:cNvSpPr>
          <p:nvPr>
            <p:ph type="title"/>
          </p:nvPr>
        </p:nvSpPr>
        <p:spPr>
          <a:xfrm>
            <a:off x="360850" y="268692"/>
            <a:ext cx="11486248" cy="485231"/>
          </a:xfrm>
          <a:prstGeom prst="rect">
            <a:avLst/>
          </a:prstGeom>
        </p:spPr>
        <p:txBody>
          <a:bodyPr lIns="121862" tIns="60932" rIns="121862" bIns="60932" anchor="ctr" anchorCtr="0"/>
          <a:lstStyle>
            <a:lvl1pPr>
              <a:defRPr sz="3199" b="1" baseline="0">
                <a:solidFill>
                  <a:schemeClr val="accent2"/>
                </a:solidFill>
                <a:latin typeface="맑은 고딕" panose="020B0503020000020004" pitchFamily="50" charset="-127"/>
                <a:ea typeface="+mn-ea"/>
              </a:defRPr>
            </a:lvl1pPr>
          </a:lstStyle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16" name="텍스트 개체 틀 9"/>
          <p:cNvSpPr>
            <a:spLocks noGrp="1"/>
          </p:cNvSpPr>
          <p:nvPr>
            <p:ph type="body" sz="quarter" idx="16"/>
          </p:nvPr>
        </p:nvSpPr>
        <p:spPr>
          <a:xfrm>
            <a:off x="378211" y="920017"/>
            <a:ext cx="11469913" cy="430731"/>
          </a:xfrm>
          <a:prstGeom prst="rect">
            <a:avLst/>
          </a:prstGeom>
        </p:spPr>
        <p:txBody>
          <a:bodyPr wrap="square" lIns="121862" tIns="60932" rIns="121862" bIns="60932">
            <a:spAutoFit/>
          </a:bodyPr>
          <a:lstStyle>
            <a:lvl1pPr marL="0" indent="0">
              <a:buNone/>
              <a:defRPr sz="2000">
                <a:latin typeface="맑은 고딕" panose="020B0503020000020004" pitchFamily="50" charset="-127"/>
              </a:defRPr>
            </a:lvl1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9686153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165" cy="1587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8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2" name="Object 9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65" cy="15871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5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211165" cy="158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34" tIns="60918" rIns="121834" bIns="60918"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eaLnBrk="1" fontAlgn="base" latinLnBrk="0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ko-KR" sz="160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sp>
        <p:nvSpPr>
          <p:cNvPr id="4" name="Rectangle 1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498172" y="6461217"/>
            <a:ext cx="431856" cy="304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0565" tIns="59225" rIns="120565" bIns="59225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fld id="{727E4BC0-E619-42A7-AA20-3D9E7A277CBE}" type="slidenum">
              <a:rPr lang="en-US" altLang="ko-KR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pPr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ko-KR" sz="120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cxnSp>
        <p:nvCxnSpPr>
          <p:cNvPr id="5" name="직선 연결선 4"/>
          <p:cNvCxnSpPr/>
          <p:nvPr/>
        </p:nvCxnSpPr>
        <p:spPr>
          <a:xfrm>
            <a:off x="1" y="858639"/>
            <a:ext cx="12192000" cy="0"/>
          </a:xfrm>
          <a:prstGeom prst="line">
            <a:avLst/>
          </a:prstGeom>
          <a:ln w="38100">
            <a:solidFill>
              <a:srgbClr val="F373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75689" y="6473914"/>
            <a:ext cx="1022483" cy="247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1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51590" y="6446932"/>
            <a:ext cx="1085259" cy="3042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0565" tIns="59225" rIns="120565" bIns="59225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algn="r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Confidential</a:t>
            </a:r>
          </a:p>
        </p:txBody>
      </p:sp>
      <p:sp>
        <p:nvSpPr>
          <p:cNvPr id="8" name="Title 3"/>
          <p:cNvSpPr txBox="1">
            <a:spLocks/>
          </p:cNvSpPr>
          <p:nvPr userDrawn="1">
            <p:custDataLst>
              <p:tags r:id="rId6"/>
            </p:custDataLst>
          </p:nvPr>
        </p:nvSpPr>
        <p:spPr bwMode="auto">
          <a:xfrm>
            <a:off x="360410" y="84119"/>
            <a:ext cx="9553231" cy="48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34" tIns="60918" rIns="121834" bIns="60918" anchor="ctr"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ko-KR" sz="2400" b="1">
              <a:solidFill>
                <a:srgbClr val="F37321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cxnSp>
        <p:nvCxnSpPr>
          <p:cNvPr id="9" name="직선 연결선 8"/>
          <p:cNvCxnSpPr/>
          <p:nvPr userDrawn="1"/>
        </p:nvCxnSpPr>
        <p:spPr bwMode="auto">
          <a:xfrm>
            <a:off x="1" y="6399318"/>
            <a:ext cx="12192000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graphicFrame>
        <p:nvGraphicFramePr>
          <p:cNvPr id="10" name="Object 14" hidden="1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0"/>
          <a:ext cx="211165" cy="1587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9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10" name="Object 14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65" cy="15871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직사각형 12"/>
          <p:cNvSpPr>
            <a:spLocks noChangeArrowheads="1"/>
          </p:cNvSpPr>
          <p:nvPr userDrawn="1"/>
        </p:nvSpPr>
        <p:spPr bwMode="auto">
          <a:xfrm>
            <a:off x="1" y="0"/>
            <a:ext cx="12192000" cy="685641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34" tIns="60918" rIns="121834" bIns="60918" anchor="ctr"/>
          <a:lstStyle>
            <a:lvl1pPr defTabSz="1217613" eaLnBrk="0" hangingPunct="0">
              <a:defRPr kumimoji="1" sz="1600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742950" indent="-285750" defTabSz="1217613" eaLnBrk="0" hangingPunct="0">
              <a:defRPr kumimoji="1" sz="1600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2pPr>
            <a:lvl3pPr marL="1143000" indent="-228600" defTabSz="1217613" eaLnBrk="0" hangingPunct="0">
              <a:defRPr kumimoji="1" sz="1600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3pPr>
            <a:lvl4pPr marL="1600200" indent="-228600" defTabSz="1217613" eaLnBrk="0" hangingPunct="0">
              <a:defRPr kumimoji="1" sz="1600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4pPr>
            <a:lvl5pPr marL="2057400" indent="-228600" defTabSz="1217613" eaLnBrk="0" hangingPunct="0">
              <a:defRPr kumimoji="1" sz="1600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9pPr>
          </a:lstStyle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endParaRPr kumimoji="0" lang="ko-KR" altLang="en-US" sz="160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pic>
        <p:nvPicPr>
          <p:cNvPr id="12" name="Picture 99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04962" y="2136280"/>
            <a:ext cx="4929830" cy="3986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3" descr="마크컬러"/>
          <p:cNvPicPr>
            <a:picLocks noChangeAspect="1" noChangeArrowheads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227" y="230135"/>
            <a:ext cx="2481586" cy="7840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117495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&amp; 1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165" cy="1587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2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10" name="Object 9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65" cy="15871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5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211165" cy="158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34" tIns="60918" rIns="121834" bIns="60918"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eaLnBrk="1" fontAlgn="base" latinLnBrk="0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ko-KR" sz="160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sp>
        <p:nvSpPr>
          <p:cNvPr id="18" name="Rectangle 1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668290" y="6461217"/>
            <a:ext cx="373329" cy="242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0565" tIns="59225" rIns="120565" bIns="59225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fld id="{E6985D17-1C7C-4666-96FD-A8AAFEF9C09E}" type="slidenum">
              <a:rPr lang="en-US" altLang="ko-KR" sz="800">
                <a:solidFill>
                  <a:schemeClr val="bg1">
                    <a:lumMod val="65000"/>
                  </a:schemeClr>
                </a:solidFill>
                <a:latin typeface="맑은 고딕" panose="020B0503020000020004" pitchFamily="50" charset="-127"/>
                <a:ea typeface="맑은 고딕" pitchFamily="50" charset="-127"/>
              </a:rPr>
              <a:pPr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ko-KR" sz="800">
              <a:solidFill>
                <a:schemeClr val="bg1">
                  <a:lumMod val="65000"/>
                </a:schemeClr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cxnSp>
        <p:nvCxnSpPr>
          <p:cNvPr id="19" name="직선 연결선 18"/>
          <p:cNvCxnSpPr/>
          <p:nvPr/>
        </p:nvCxnSpPr>
        <p:spPr>
          <a:xfrm>
            <a:off x="1" y="858639"/>
            <a:ext cx="12192000" cy="0"/>
          </a:xfrm>
          <a:prstGeom prst="line">
            <a:avLst/>
          </a:prstGeom>
          <a:ln w="38100">
            <a:solidFill>
              <a:srgbClr val="F373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le 3"/>
          <p:cNvSpPr txBox="1"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360410" y="84119"/>
            <a:ext cx="9553231" cy="48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34" tIns="60918" rIns="121834" bIns="60918" anchor="ctr"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ko-KR" sz="2400" b="1">
              <a:solidFill>
                <a:srgbClr val="F37321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graphicFrame>
        <p:nvGraphicFramePr>
          <p:cNvPr id="24" name="Object 2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9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24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3"/>
          <p:cNvSpPr>
            <a:spLocks noGrp="1"/>
          </p:cNvSpPr>
          <p:nvPr>
            <p:ph type="title"/>
          </p:nvPr>
        </p:nvSpPr>
        <p:spPr>
          <a:xfrm>
            <a:off x="360850" y="268692"/>
            <a:ext cx="11486248" cy="485231"/>
          </a:xfrm>
          <a:prstGeom prst="rect">
            <a:avLst/>
          </a:prstGeom>
        </p:spPr>
        <p:txBody>
          <a:bodyPr lIns="121862" tIns="60932" rIns="121862" bIns="60932" anchor="ctr" anchorCtr="0"/>
          <a:lstStyle>
            <a:lvl1pPr>
              <a:defRPr sz="2799" b="1" baseline="0">
                <a:solidFill>
                  <a:schemeClr val="accent2"/>
                </a:solidFill>
                <a:latin typeface="LIFEPLUS Light" panose="00000300000000000000" pitchFamily="2" charset="-127"/>
                <a:ea typeface="LIFEPLUS Light" panose="00000300000000000000" pitchFamily="2" charset="-127"/>
              </a:defRPr>
            </a:lvl1pPr>
          </a:lstStyle>
          <a:p>
            <a:r>
              <a:rPr lang="ko-KR" altLang="en-US" dirty="0"/>
              <a:t>마스터 제목 스타일 편집</a:t>
            </a:r>
            <a:endParaRPr lang="en-US" dirty="0"/>
          </a:p>
        </p:txBody>
      </p:sp>
      <p:sp>
        <p:nvSpPr>
          <p:cNvPr id="16" name="텍스트 개체 틀 9"/>
          <p:cNvSpPr>
            <a:spLocks noGrp="1"/>
          </p:cNvSpPr>
          <p:nvPr>
            <p:ph type="body" sz="quarter" idx="16"/>
          </p:nvPr>
        </p:nvSpPr>
        <p:spPr>
          <a:xfrm>
            <a:off x="378211" y="920016"/>
            <a:ext cx="11469913" cy="369190"/>
          </a:xfrm>
          <a:prstGeom prst="rect">
            <a:avLst/>
          </a:prstGeom>
        </p:spPr>
        <p:txBody>
          <a:bodyPr wrap="square" lIns="121862" tIns="60932" rIns="121862" bIns="60932">
            <a:spAutoFit/>
          </a:bodyPr>
          <a:lstStyle>
            <a:lvl1pPr marL="0" indent="0">
              <a:buNone/>
              <a:defRPr sz="16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41754473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211" userDrawn="1">
          <p15:clr>
            <a:srgbClr val="FBAE40"/>
          </p15:clr>
        </p15:guide>
        <p15:guide id="4" pos="7469" userDrawn="1">
          <p15:clr>
            <a:srgbClr val="FBAE40"/>
          </p15:clr>
        </p15:guide>
        <p15:guide id="5" orient="horz" pos="3974" userDrawn="1">
          <p15:clr>
            <a:srgbClr val="FBAE40"/>
          </p15:clr>
        </p15:guide>
        <p15:guide id="6" orient="horz" pos="709" userDrawn="1">
          <p15:clr>
            <a:srgbClr val="FBAE40"/>
          </p15:clr>
        </p15:guide>
        <p15:guide id="7" pos="1504" userDrawn="1">
          <p15:clr>
            <a:srgbClr val="FBAE40"/>
          </p15:clr>
        </p15:guide>
        <p15:guide id="8" pos="572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&amp; 1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165" cy="1587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6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10" name="Object 9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65" cy="15871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5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211165" cy="158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34" tIns="60918" rIns="121834" bIns="60918"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eaLnBrk="1" fontAlgn="base" latinLnBrk="0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ko-KR" sz="160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sp>
        <p:nvSpPr>
          <p:cNvPr id="18" name="Rectangle 1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668290" y="6461217"/>
            <a:ext cx="373329" cy="242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0565" tIns="59225" rIns="120565" bIns="59225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fld id="{E6985D17-1C7C-4666-96FD-A8AAFEF9C09E}" type="slidenum">
              <a:rPr lang="en-US" altLang="ko-KR" sz="800">
                <a:solidFill>
                  <a:schemeClr val="bg1">
                    <a:lumMod val="65000"/>
                  </a:schemeClr>
                </a:solidFill>
                <a:latin typeface="맑은 고딕" panose="020B0503020000020004" pitchFamily="50" charset="-127"/>
                <a:ea typeface="맑은 고딕" pitchFamily="50" charset="-127"/>
              </a:rPr>
              <a:pPr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ko-KR" sz="800">
              <a:solidFill>
                <a:schemeClr val="bg1">
                  <a:lumMod val="65000"/>
                </a:schemeClr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cxnSp>
        <p:nvCxnSpPr>
          <p:cNvPr id="19" name="직선 연결선 18"/>
          <p:cNvCxnSpPr/>
          <p:nvPr/>
        </p:nvCxnSpPr>
        <p:spPr>
          <a:xfrm>
            <a:off x="1" y="858639"/>
            <a:ext cx="12192000" cy="0"/>
          </a:xfrm>
          <a:prstGeom prst="line">
            <a:avLst/>
          </a:prstGeom>
          <a:ln w="38100">
            <a:solidFill>
              <a:srgbClr val="F373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le 3"/>
          <p:cNvSpPr txBox="1"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360410" y="84119"/>
            <a:ext cx="9553231" cy="48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34" tIns="60918" rIns="121834" bIns="60918" anchor="ctr"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ko-KR" sz="2400" b="1">
              <a:solidFill>
                <a:srgbClr val="F37321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graphicFrame>
        <p:nvGraphicFramePr>
          <p:cNvPr id="24" name="Object 2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9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24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3"/>
          <p:cNvSpPr>
            <a:spLocks noGrp="1"/>
          </p:cNvSpPr>
          <p:nvPr>
            <p:ph type="title"/>
          </p:nvPr>
        </p:nvSpPr>
        <p:spPr>
          <a:xfrm>
            <a:off x="360850" y="268692"/>
            <a:ext cx="11486248" cy="485231"/>
          </a:xfrm>
          <a:prstGeom prst="rect">
            <a:avLst/>
          </a:prstGeom>
        </p:spPr>
        <p:txBody>
          <a:bodyPr lIns="121862" tIns="60932" rIns="121862" bIns="60932" anchor="ctr" anchorCtr="0"/>
          <a:lstStyle>
            <a:lvl1pPr>
              <a:defRPr sz="2799" b="1" baseline="0">
                <a:solidFill>
                  <a:schemeClr val="accent2"/>
                </a:solidFill>
                <a:latin typeface="LIFEPLUS Light" panose="00000300000000000000" pitchFamily="2" charset="-127"/>
                <a:ea typeface="LIFEPLUS Light" panose="00000300000000000000" pitchFamily="2" charset="-127"/>
              </a:defRPr>
            </a:lvl1pPr>
          </a:lstStyle>
          <a:p>
            <a:r>
              <a:rPr lang="ko-KR" altLang="en-US" dirty="0"/>
              <a:t>마스터 제목 스타일 편집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6341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3974">
          <p15:clr>
            <a:srgbClr val="FBAE40"/>
          </p15:clr>
        </p15:guide>
        <p15:guide id="6" orient="horz" pos="709">
          <p15:clr>
            <a:srgbClr val="FBAE40"/>
          </p15:clr>
        </p15:guide>
        <p15:guide id="7" pos="1504">
          <p15:clr>
            <a:srgbClr val="FBAE40"/>
          </p15:clr>
        </p15:guide>
        <p15:guide id="8" pos="572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&amp; 1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165" cy="1587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0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10" name="Object 9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65" cy="15871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5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211165" cy="158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34" tIns="60918" rIns="121834" bIns="60918"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eaLnBrk="1" fontAlgn="base" latinLnBrk="0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ko-KR" sz="160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cxnSp>
        <p:nvCxnSpPr>
          <p:cNvPr id="19" name="직선 연결선 18"/>
          <p:cNvCxnSpPr/>
          <p:nvPr/>
        </p:nvCxnSpPr>
        <p:spPr>
          <a:xfrm>
            <a:off x="1" y="858639"/>
            <a:ext cx="12192000" cy="0"/>
          </a:xfrm>
          <a:prstGeom prst="line">
            <a:avLst/>
          </a:prstGeom>
          <a:ln w="38100">
            <a:solidFill>
              <a:srgbClr val="F373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le 3"/>
          <p:cNvSpPr txBox="1"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360410" y="84119"/>
            <a:ext cx="9553231" cy="48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34" tIns="60918" rIns="121834" bIns="60918" anchor="ctr"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ko-KR" sz="2400" b="1">
              <a:solidFill>
                <a:srgbClr val="F37321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cxnSp>
        <p:nvCxnSpPr>
          <p:cNvPr id="23" name="직선 연결선 22"/>
          <p:cNvCxnSpPr/>
          <p:nvPr userDrawn="1"/>
        </p:nvCxnSpPr>
        <p:spPr bwMode="auto">
          <a:xfrm>
            <a:off x="1" y="6399318"/>
            <a:ext cx="12192000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graphicFrame>
        <p:nvGraphicFramePr>
          <p:cNvPr id="24" name="Object 2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9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24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텍스트 개체 틀 9"/>
          <p:cNvSpPr>
            <a:spLocks noGrp="1"/>
          </p:cNvSpPr>
          <p:nvPr>
            <p:ph type="body" sz="quarter" idx="11"/>
          </p:nvPr>
        </p:nvSpPr>
        <p:spPr>
          <a:xfrm>
            <a:off x="393840" y="1919970"/>
            <a:ext cx="5787013" cy="596892"/>
          </a:xfrm>
          <a:prstGeom prst="rect">
            <a:avLst/>
          </a:prstGeom>
        </p:spPr>
        <p:txBody>
          <a:bodyPr lIns="121862" tIns="60932" rIns="121862" bIns="60932">
            <a:spAutoFit/>
          </a:bodyPr>
          <a:lstStyle>
            <a:lvl1pPr>
              <a:defRPr sz="1400">
                <a:latin typeface="맑은 고딕" panose="020B0503020000020004" pitchFamily="50" charset="-127"/>
              </a:defRPr>
            </a:lvl1pPr>
            <a:lvl2pPr>
              <a:defRPr sz="1400">
                <a:latin typeface="맑은 고딕" panose="020B0503020000020004" pitchFamily="50" charset="-127"/>
              </a:defRPr>
            </a:lvl2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</p:txBody>
      </p:sp>
      <p:sp>
        <p:nvSpPr>
          <p:cNvPr id="12" name="텍스트 개체 틀 9"/>
          <p:cNvSpPr>
            <a:spLocks noGrp="1"/>
          </p:cNvSpPr>
          <p:nvPr>
            <p:ph type="body" sz="quarter" idx="12"/>
          </p:nvPr>
        </p:nvSpPr>
        <p:spPr>
          <a:xfrm>
            <a:off x="393840" y="2707371"/>
            <a:ext cx="5787013" cy="596892"/>
          </a:xfrm>
          <a:prstGeom prst="rect">
            <a:avLst/>
          </a:prstGeom>
        </p:spPr>
        <p:txBody>
          <a:bodyPr lIns="121862" tIns="60932" rIns="121862" bIns="60932">
            <a:spAutoFit/>
          </a:bodyPr>
          <a:lstStyle>
            <a:lvl1pPr>
              <a:defRPr sz="1400">
                <a:latin typeface="맑은 고딕" panose="020B0503020000020004" pitchFamily="50" charset="-127"/>
              </a:defRPr>
            </a:lvl1pPr>
            <a:lvl2pPr>
              <a:defRPr sz="1400">
                <a:latin typeface="맑은 고딕" panose="020B0503020000020004" pitchFamily="50" charset="-127"/>
              </a:defRPr>
            </a:lvl2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</p:txBody>
      </p:sp>
      <p:sp>
        <p:nvSpPr>
          <p:cNvPr id="13" name="텍스트 개체 틀 9"/>
          <p:cNvSpPr>
            <a:spLocks noGrp="1"/>
          </p:cNvSpPr>
          <p:nvPr>
            <p:ph type="body" sz="quarter" idx="13"/>
          </p:nvPr>
        </p:nvSpPr>
        <p:spPr>
          <a:xfrm>
            <a:off x="393840" y="3507471"/>
            <a:ext cx="5787013" cy="596892"/>
          </a:xfrm>
          <a:prstGeom prst="rect">
            <a:avLst/>
          </a:prstGeom>
        </p:spPr>
        <p:txBody>
          <a:bodyPr lIns="121862" tIns="60932" rIns="121862" bIns="60932">
            <a:spAutoFit/>
          </a:bodyPr>
          <a:lstStyle>
            <a:lvl1pPr>
              <a:defRPr sz="1400">
                <a:latin typeface="맑은 고딕" panose="020B0503020000020004" pitchFamily="50" charset="-127"/>
              </a:defRPr>
            </a:lvl1pPr>
            <a:lvl2pPr>
              <a:defRPr sz="1400">
                <a:latin typeface="맑은 고딕" panose="020B0503020000020004" pitchFamily="50" charset="-127"/>
              </a:defRPr>
            </a:lvl2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</p:txBody>
      </p:sp>
      <p:sp>
        <p:nvSpPr>
          <p:cNvPr id="14" name="텍스트 개체 틀 9"/>
          <p:cNvSpPr>
            <a:spLocks noGrp="1"/>
          </p:cNvSpPr>
          <p:nvPr>
            <p:ph type="body" sz="quarter" idx="14"/>
          </p:nvPr>
        </p:nvSpPr>
        <p:spPr>
          <a:xfrm>
            <a:off x="393840" y="4294872"/>
            <a:ext cx="5787013" cy="596892"/>
          </a:xfrm>
          <a:prstGeom prst="rect">
            <a:avLst/>
          </a:prstGeom>
        </p:spPr>
        <p:txBody>
          <a:bodyPr lIns="121862" tIns="60932" rIns="121862" bIns="60932">
            <a:spAutoFit/>
          </a:bodyPr>
          <a:lstStyle>
            <a:lvl1pPr>
              <a:defRPr sz="1400">
                <a:latin typeface="맑은 고딕" panose="020B0503020000020004" pitchFamily="50" charset="-127"/>
              </a:defRPr>
            </a:lvl1pPr>
            <a:lvl2pPr>
              <a:defRPr sz="1400">
                <a:latin typeface="맑은 고딕" panose="020B0503020000020004" pitchFamily="50" charset="-127"/>
              </a:defRPr>
            </a:lvl2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</p:txBody>
      </p:sp>
      <p:sp>
        <p:nvSpPr>
          <p:cNvPr id="15" name="텍스트 개체 틀 9"/>
          <p:cNvSpPr>
            <a:spLocks noGrp="1"/>
          </p:cNvSpPr>
          <p:nvPr>
            <p:ph type="body" sz="quarter" idx="15"/>
          </p:nvPr>
        </p:nvSpPr>
        <p:spPr>
          <a:xfrm>
            <a:off x="393840" y="5082270"/>
            <a:ext cx="5787013" cy="596892"/>
          </a:xfrm>
          <a:prstGeom prst="rect">
            <a:avLst/>
          </a:prstGeom>
        </p:spPr>
        <p:txBody>
          <a:bodyPr lIns="121862" tIns="60932" rIns="121862" bIns="60932">
            <a:spAutoFit/>
          </a:bodyPr>
          <a:lstStyle>
            <a:lvl1pPr>
              <a:defRPr sz="1400">
                <a:latin typeface="맑은 고딕" panose="020B0503020000020004" pitchFamily="50" charset="-127"/>
              </a:defRPr>
            </a:lvl1pPr>
            <a:lvl2pPr>
              <a:defRPr sz="1400">
                <a:latin typeface="맑은 고딕" panose="020B0503020000020004" pitchFamily="50" charset="-127"/>
              </a:defRPr>
            </a:lvl2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</p:txBody>
      </p:sp>
      <p:sp>
        <p:nvSpPr>
          <p:cNvPr id="9" name="Title 3"/>
          <p:cNvSpPr>
            <a:spLocks noGrp="1"/>
          </p:cNvSpPr>
          <p:nvPr>
            <p:ph type="title"/>
          </p:nvPr>
        </p:nvSpPr>
        <p:spPr>
          <a:xfrm>
            <a:off x="360850" y="268692"/>
            <a:ext cx="11486248" cy="485231"/>
          </a:xfrm>
          <a:prstGeom prst="rect">
            <a:avLst/>
          </a:prstGeom>
        </p:spPr>
        <p:txBody>
          <a:bodyPr lIns="121862" tIns="60932" rIns="121862" bIns="60932" anchor="ctr" anchorCtr="0"/>
          <a:lstStyle>
            <a:lvl1pPr>
              <a:defRPr sz="3199" b="1" baseline="0">
                <a:solidFill>
                  <a:schemeClr val="accent2"/>
                </a:solidFill>
                <a:latin typeface="맑은 고딕" panose="020B0503020000020004" pitchFamily="50" charset="-127"/>
                <a:ea typeface="+mn-ea"/>
              </a:defRPr>
            </a:lvl1pPr>
          </a:lstStyle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16" name="텍스트 개체 틀 9"/>
          <p:cNvSpPr>
            <a:spLocks noGrp="1"/>
          </p:cNvSpPr>
          <p:nvPr>
            <p:ph type="body" sz="quarter" idx="16"/>
          </p:nvPr>
        </p:nvSpPr>
        <p:spPr>
          <a:xfrm>
            <a:off x="378211" y="920017"/>
            <a:ext cx="11469913" cy="430731"/>
          </a:xfrm>
          <a:prstGeom prst="rect">
            <a:avLst/>
          </a:prstGeom>
        </p:spPr>
        <p:txBody>
          <a:bodyPr wrap="square" lIns="121862" tIns="60932" rIns="121862" bIns="60932">
            <a:spAutoFit/>
          </a:bodyPr>
          <a:lstStyle>
            <a:lvl1pPr marL="0" indent="0">
              <a:buNone/>
              <a:defRPr sz="2000">
                <a:latin typeface="맑은 고딕" panose="020B0503020000020004" pitchFamily="50" charset="-127"/>
              </a:defRPr>
            </a:lvl1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40167101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Title &amp; 1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3" y="1594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3" y="1594"/>
                        <a:ext cx="21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텍스트 개체 틀 9"/>
          <p:cNvSpPr>
            <a:spLocks noGrp="1"/>
          </p:cNvSpPr>
          <p:nvPr>
            <p:ph type="body" sz="quarter" idx="10"/>
          </p:nvPr>
        </p:nvSpPr>
        <p:spPr>
          <a:xfrm>
            <a:off x="393840" y="1132568"/>
            <a:ext cx="5787013" cy="735416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</p:txBody>
      </p:sp>
      <p:sp>
        <p:nvSpPr>
          <p:cNvPr id="11" name="텍스트 개체 틀 9"/>
          <p:cNvSpPr>
            <a:spLocks noGrp="1"/>
          </p:cNvSpPr>
          <p:nvPr>
            <p:ph type="body" sz="quarter" idx="11"/>
          </p:nvPr>
        </p:nvSpPr>
        <p:spPr>
          <a:xfrm>
            <a:off x="393840" y="1919966"/>
            <a:ext cx="5787013" cy="735416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</p:txBody>
      </p:sp>
      <p:sp>
        <p:nvSpPr>
          <p:cNvPr id="12" name="텍스트 개체 틀 9"/>
          <p:cNvSpPr>
            <a:spLocks noGrp="1"/>
          </p:cNvSpPr>
          <p:nvPr>
            <p:ph type="body" sz="quarter" idx="12"/>
          </p:nvPr>
        </p:nvSpPr>
        <p:spPr>
          <a:xfrm>
            <a:off x="393840" y="2707366"/>
            <a:ext cx="5787013" cy="735416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</p:txBody>
      </p:sp>
      <p:sp>
        <p:nvSpPr>
          <p:cNvPr id="13" name="텍스트 개체 틀 9"/>
          <p:cNvSpPr>
            <a:spLocks noGrp="1"/>
          </p:cNvSpPr>
          <p:nvPr>
            <p:ph type="body" sz="quarter" idx="13"/>
          </p:nvPr>
        </p:nvSpPr>
        <p:spPr>
          <a:xfrm>
            <a:off x="393840" y="3507468"/>
            <a:ext cx="5787013" cy="735416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</p:txBody>
      </p:sp>
      <p:sp>
        <p:nvSpPr>
          <p:cNvPr id="14" name="텍스트 개체 틀 9"/>
          <p:cNvSpPr>
            <a:spLocks noGrp="1"/>
          </p:cNvSpPr>
          <p:nvPr>
            <p:ph type="body" sz="quarter" idx="14"/>
          </p:nvPr>
        </p:nvSpPr>
        <p:spPr>
          <a:xfrm>
            <a:off x="393840" y="4294866"/>
            <a:ext cx="5787013" cy="735416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</p:txBody>
      </p:sp>
      <p:sp>
        <p:nvSpPr>
          <p:cNvPr id="15" name="텍스트 개체 틀 9"/>
          <p:cNvSpPr>
            <a:spLocks noGrp="1"/>
          </p:cNvSpPr>
          <p:nvPr>
            <p:ph type="body" sz="quarter" idx="15"/>
          </p:nvPr>
        </p:nvSpPr>
        <p:spPr>
          <a:xfrm>
            <a:off x="393840" y="5082266"/>
            <a:ext cx="5787013" cy="735416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</p:txBody>
      </p:sp>
    </p:spTree>
    <p:extLst>
      <p:ext uri="{BB962C8B-B14F-4D97-AF65-F5344CB8AC3E}">
        <p14:creationId xmlns:p14="http://schemas.microsoft.com/office/powerpoint/2010/main" val="41914526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타이틀+소타이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사각형: 둥근 모서리 8">
            <a:extLst>
              <a:ext uri="{FF2B5EF4-FFF2-40B4-BE49-F238E27FC236}">
                <a16:creationId xmlns:a16="http://schemas.microsoft.com/office/drawing/2014/main" id="{5FC770F1-69D3-4CDD-957C-B7658C95B093}"/>
              </a:ext>
            </a:extLst>
          </p:cNvPr>
          <p:cNvSpPr/>
          <p:nvPr userDrawn="1"/>
        </p:nvSpPr>
        <p:spPr>
          <a:xfrm>
            <a:off x="-152400" y="207696"/>
            <a:ext cx="2706486" cy="237785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endParaRPr kumimoji="1" lang="ko-KR" altLang="en-US" sz="1200">
              <a:ln>
                <a:solidFill>
                  <a:srgbClr val="595959">
                    <a:alpha val="0"/>
                  </a:srgbClr>
                </a:solidFill>
              </a:ln>
              <a:solidFill>
                <a:srgbClr val="FFFFFF"/>
              </a:solidFill>
              <a:latin typeface="LIFEPLUS 본문 Medium" panose="00000600000000000000" pitchFamily="2" charset="-127"/>
              <a:ea typeface="LIFEPLUS 본문 Medium" panose="00000600000000000000" pitchFamily="2" charset="-127"/>
              <a:cs typeface="Times New Roman" panose="02020603050405020304" pitchFamily="18" charset="0"/>
            </a:endParaRPr>
          </a:p>
        </p:txBody>
      </p:sp>
      <p:cxnSp>
        <p:nvCxnSpPr>
          <p:cNvPr id="13" name="직선 연결선 12">
            <a:extLst>
              <a:ext uri="{FF2B5EF4-FFF2-40B4-BE49-F238E27FC236}">
                <a16:creationId xmlns:a16="http://schemas.microsoft.com/office/drawing/2014/main" id="{6C9FD295-ECE4-4465-93D3-FC09942AF0BF}"/>
              </a:ext>
            </a:extLst>
          </p:cNvPr>
          <p:cNvCxnSpPr>
            <a:cxnSpLocks/>
          </p:cNvCxnSpPr>
          <p:nvPr userDrawn="1"/>
        </p:nvCxnSpPr>
        <p:spPr>
          <a:xfrm>
            <a:off x="143885" y="854393"/>
            <a:ext cx="119042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제목 1">
            <a:extLst>
              <a:ext uri="{FF2B5EF4-FFF2-40B4-BE49-F238E27FC236}">
                <a16:creationId xmlns:a16="http://schemas.microsoft.com/office/drawing/2014/main" id="{2494F60A-344A-B90F-FBB3-F07CAFD834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885" y="445481"/>
            <a:ext cx="11149965" cy="436245"/>
          </a:xfrm>
          <a:prstGeom prst="rect">
            <a:avLst/>
          </a:prstGeom>
        </p:spPr>
        <p:txBody>
          <a:bodyPr anchor="ctr"/>
          <a:lstStyle>
            <a:lvl1pPr>
              <a:defRPr sz="1950" b="1">
                <a:latin typeface="+mj-ea"/>
                <a:ea typeface="+mj-ea"/>
              </a:defRPr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3">
            <a:extLst>
              <a:ext uri="{FF2B5EF4-FFF2-40B4-BE49-F238E27FC236}">
                <a16:creationId xmlns:a16="http://schemas.microsoft.com/office/drawing/2014/main" id="{99415501-3FFC-B191-398C-269574B618B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6246" y="959507"/>
            <a:ext cx="3071754" cy="20000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lang="ko-KR" altLang="en-US" sz="1300" kern="1200" dirty="0" smtClean="0">
                <a:solidFill>
                  <a:srgbClr val="3B3838"/>
                </a:solidFill>
                <a:effectLst/>
                <a:latin typeface="+mj-ea"/>
                <a:ea typeface="+mj-ea"/>
                <a:cs typeface="Times New Roman" panose="02020603050405020304" pitchFamily="18" charset="0"/>
              </a:defRPr>
            </a:lvl1pPr>
            <a:lvl2pPr marL="371475" indent="0">
              <a:buNone/>
              <a:defRPr lang="ko-KR" altLang="en-US" sz="1300" kern="1200" dirty="0" smtClean="0">
                <a:solidFill>
                  <a:srgbClr val="3B3838"/>
                </a:solidFill>
                <a:effectLst/>
                <a:latin typeface="HG꼬딕씨 60g" panose="02020603020101020101" pitchFamily="18" charset="-127"/>
                <a:ea typeface="HG꼬딕씨 60g" panose="02020603020101020101" pitchFamily="18" charset="-127"/>
                <a:cs typeface="Times New Roman" panose="02020603050405020304" pitchFamily="18" charset="0"/>
              </a:defRPr>
            </a:lvl2pPr>
            <a:lvl3pPr marL="742950" indent="0">
              <a:buNone/>
              <a:defRPr lang="ko-KR" altLang="en-US" sz="1300" kern="1200" dirty="0" smtClean="0">
                <a:solidFill>
                  <a:srgbClr val="3B3838"/>
                </a:solidFill>
                <a:effectLst/>
                <a:latin typeface="HG꼬딕씨 60g" panose="02020603020101020101" pitchFamily="18" charset="-127"/>
                <a:ea typeface="HG꼬딕씨 60g" panose="02020603020101020101" pitchFamily="18" charset="-127"/>
                <a:cs typeface="Times New Roman" panose="02020603050405020304" pitchFamily="18" charset="0"/>
              </a:defRPr>
            </a:lvl3pPr>
            <a:lvl4pPr marL="1114425" indent="0">
              <a:buNone/>
              <a:defRPr lang="ko-KR" altLang="en-US" sz="1300" kern="1200" dirty="0" smtClean="0">
                <a:solidFill>
                  <a:srgbClr val="3B3838"/>
                </a:solidFill>
                <a:effectLst/>
                <a:latin typeface="HG꼬딕씨 60g" panose="02020603020101020101" pitchFamily="18" charset="-127"/>
                <a:ea typeface="HG꼬딕씨 60g" panose="02020603020101020101" pitchFamily="18" charset="-127"/>
                <a:cs typeface="Times New Roman" panose="02020603050405020304" pitchFamily="18" charset="0"/>
              </a:defRPr>
            </a:lvl4pPr>
            <a:lvl5pPr marL="1485900" indent="0">
              <a:buNone/>
              <a:defRPr lang="ko-KR" altLang="en-US" sz="1300" kern="1200" dirty="0">
                <a:solidFill>
                  <a:srgbClr val="3B3838"/>
                </a:solidFill>
                <a:effectLst/>
                <a:latin typeface="HG꼬딕씨 60g" panose="02020603020101020101" pitchFamily="18" charset="-127"/>
                <a:ea typeface="HG꼬딕씨 60g" panose="02020603020101020101" pitchFamily="18" charset="-127"/>
                <a:cs typeface="Times New Roman" panose="02020603050405020304" pitchFamily="18" charset="0"/>
              </a:defRPr>
            </a:lvl5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텍스트 개체 틀 7">
            <a:extLst>
              <a:ext uri="{FF2B5EF4-FFF2-40B4-BE49-F238E27FC236}">
                <a16:creationId xmlns:a16="http://schemas.microsoft.com/office/drawing/2014/main" id="{2F40E8FB-5743-F200-C3C6-978F6B4FB9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3885" y="228540"/>
            <a:ext cx="1856519" cy="22154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marL="0" indent="0" algn="l" defTabSz="742950" rtl="0" eaLnBrk="1" latinLnBrk="1" hangingPunct="1">
              <a:lnSpc>
                <a:spcPct val="120000"/>
              </a:lnSpc>
              <a:buFont typeface="Wingdings" panose="05000000000000000000" pitchFamily="2" charset="2"/>
              <a:buNone/>
              <a:defRPr lang="ko-KR" altLang="en-US" sz="1200" b="1" kern="1200" dirty="0" smtClean="0">
                <a:solidFill>
                  <a:srgbClr val="3B3838"/>
                </a:solidFill>
                <a:latin typeface="+mj-ea"/>
                <a:ea typeface="+mj-ea"/>
                <a:cs typeface="+mn-cs"/>
              </a:defRPr>
            </a:lvl1pPr>
            <a:lvl2pPr>
              <a:defRPr sz="1463">
                <a:latin typeface="HG꼬딕씨 40g" panose="02020603020101020101" pitchFamily="18" charset="-127"/>
                <a:ea typeface="HG꼬딕씨 40g" panose="02020603020101020101" pitchFamily="18" charset="-127"/>
              </a:defRPr>
            </a:lvl2pPr>
            <a:lvl3pPr>
              <a:defRPr>
                <a:latin typeface="HG꼬딕씨 40g" panose="02020603020101020101" pitchFamily="18" charset="-127"/>
                <a:ea typeface="HG꼬딕씨 40g" panose="02020603020101020101" pitchFamily="18" charset="-127"/>
              </a:defRPr>
            </a:lvl3pPr>
            <a:lvl4pPr>
              <a:defRPr>
                <a:latin typeface="HG꼬딕씨 40g" panose="02020603020101020101" pitchFamily="18" charset="-127"/>
                <a:ea typeface="HG꼬딕씨 40g" panose="02020603020101020101" pitchFamily="18" charset="-127"/>
              </a:defRPr>
            </a:lvl4pPr>
            <a:lvl5pPr>
              <a:defRPr>
                <a:latin typeface="HG꼬딕씨 40g" panose="02020603020101020101" pitchFamily="18" charset="-127"/>
                <a:ea typeface="HG꼬딕씨 40g" panose="02020603020101020101" pitchFamily="18" charset="-127"/>
              </a:defRPr>
            </a:lvl5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20572769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9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211165" cy="1587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18" imgW="0" imgH="0" progId="">
                  <p:embed/>
                </p:oleObj>
              </mc:Choice>
              <mc:Fallback>
                <p:oleObj name="think-cell Slide" r:id="rId18" imgW="0" imgH="0" progId="">
                  <p:embed/>
                  <p:pic>
                    <p:nvPicPr>
                      <p:cNvPr id="1026" name="Object 9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65" cy="15871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15" hidden="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0" y="0"/>
            <a:ext cx="211165" cy="158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34" tIns="60918" rIns="121834" bIns="60918"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eaLnBrk="1" fontAlgn="base" latinLnBrk="0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ko-KR" sz="160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sp>
        <p:nvSpPr>
          <p:cNvPr id="1028" name="Rectangle 13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1498172" y="6461217"/>
            <a:ext cx="431856" cy="304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0565" tIns="59225" rIns="120565" bIns="59225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fld id="{6A5D781D-F875-44BF-90B3-BE02C98B0E5F}" type="slidenum">
              <a:rPr lang="en-US" altLang="ko-KR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pPr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ko-KR" sz="120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cxnSp>
        <p:nvCxnSpPr>
          <p:cNvPr id="14" name="직선 연결선 13"/>
          <p:cNvCxnSpPr/>
          <p:nvPr/>
        </p:nvCxnSpPr>
        <p:spPr>
          <a:xfrm>
            <a:off x="1" y="858639"/>
            <a:ext cx="12192000" cy="0"/>
          </a:xfrm>
          <a:prstGeom prst="line">
            <a:avLst/>
          </a:prstGeom>
          <a:ln w="38100">
            <a:solidFill>
              <a:srgbClr val="F373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0" name="Picture 2"/>
          <p:cNvPicPr>
            <a:picLocks noChangeAspect="1" noChangeArrowheads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75689" y="6473914"/>
            <a:ext cx="1022483" cy="247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2" name="Title 3"/>
          <p:cNvSpPr txBox="1">
            <a:spLocks/>
          </p:cNvSpPr>
          <p:nvPr userDrawn="1">
            <p:custDataLst>
              <p:tags r:id="rId17"/>
            </p:custDataLst>
          </p:nvPr>
        </p:nvSpPr>
        <p:spPr bwMode="auto">
          <a:xfrm>
            <a:off x="360410" y="84119"/>
            <a:ext cx="9553231" cy="48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34" tIns="60918" rIns="121834" bIns="60918" anchor="ctr"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ko-KR" sz="2400" b="1">
              <a:solidFill>
                <a:srgbClr val="F37321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cxnSp>
        <p:nvCxnSpPr>
          <p:cNvPr id="3" name="직선 연결선 2"/>
          <p:cNvCxnSpPr/>
          <p:nvPr userDrawn="1"/>
        </p:nvCxnSpPr>
        <p:spPr bwMode="auto">
          <a:xfrm>
            <a:off x="1" y="6399318"/>
            <a:ext cx="12192000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964736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82" r:id="rId6"/>
    <p:sldLayoutId id="2147483666" r:id="rId7"/>
    <p:sldLayoutId id="2147483667" r:id="rId8"/>
    <p:sldLayoutId id="2147483668" r:id="rId9"/>
    <p:sldLayoutId id="2147483683" r:id="rId10"/>
    <p:sldLayoutId id="2147483684" r:id="rId11"/>
  </p:sldLayoutIdLst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sz="3199" b="1">
          <a:solidFill>
            <a:srgbClr val="C4530B"/>
          </a:solidFill>
          <a:latin typeface="맑은 고딕" pitchFamily="50" charset="-127"/>
          <a:ea typeface="맑은 고딕" pitchFamily="50" charset="-127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sz="3199" b="1">
          <a:solidFill>
            <a:srgbClr val="C4530B"/>
          </a:solidFill>
          <a:latin typeface="맑은 고딕" pitchFamily="50" charset="-127"/>
          <a:ea typeface="맑은 고딕" pitchFamily="50" charset="-127"/>
          <a:cs typeface="Arial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sz="3199" b="1">
          <a:solidFill>
            <a:srgbClr val="C4530B"/>
          </a:solidFill>
          <a:latin typeface="맑은 고딕" pitchFamily="50" charset="-127"/>
          <a:ea typeface="맑은 고딕" pitchFamily="50" charset="-127"/>
          <a:cs typeface="Arial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sz="3199" b="1">
          <a:solidFill>
            <a:srgbClr val="C4530B"/>
          </a:solidFill>
          <a:latin typeface="맑은 고딕" pitchFamily="50" charset="-127"/>
          <a:ea typeface="맑은 고딕" pitchFamily="50" charset="-127"/>
          <a:cs typeface="Arial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sz="3199" b="1">
          <a:solidFill>
            <a:srgbClr val="C4530B"/>
          </a:solidFill>
          <a:latin typeface="맑은 고딕" pitchFamily="50" charset="-127"/>
          <a:ea typeface="맑은 고딕" pitchFamily="50" charset="-127"/>
          <a:cs typeface="Arial" charset="0"/>
        </a:defRPr>
      </a:lvl5pPr>
      <a:lvl6pPr marL="609325" algn="l" rtl="0" eaLnBrk="1" fontAlgn="base" latinLnBrk="1" hangingPunct="1">
        <a:lnSpc>
          <a:spcPct val="12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  <a:ea typeface="돋움" pitchFamily="50" charset="-127"/>
          <a:cs typeface="Arial" charset="0"/>
        </a:defRPr>
      </a:lvl6pPr>
      <a:lvl7pPr marL="1218650" algn="l" rtl="0" eaLnBrk="1" fontAlgn="base" latinLnBrk="1" hangingPunct="1">
        <a:lnSpc>
          <a:spcPct val="12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  <a:ea typeface="돋움" pitchFamily="50" charset="-127"/>
          <a:cs typeface="Arial" charset="0"/>
        </a:defRPr>
      </a:lvl7pPr>
      <a:lvl8pPr marL="1827975" algn="l" rtl="0" eaLnBrk="1" fontAlgn="base" latinLnBrk="1" hangingPunct="1">
        <a:lnSpc>
          <a:spcPct val="12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  <a:ea typeface="돋움" pitchFamily="50" charset="-127"/>
          <a:cs typeface="Arial" charset="0"/>
        </a:defRPr>
      </a:lvl8pPr>
      <a:lvl9pPr marL="2437302" algn="l" rtl="0" eaLnBrk="1" fontAlgn="base" latinLnBrk="1" hangingPunct="1">
        <a:lnSpc>
          <a:spcPct val="12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  <a:ea typeface="돋움" pitchFamily="50" charset="-127"/>
          <a:cs typeface="Arial" charset="0"/>
        </a:defRPr>
      </a:lvl9pPr>
    </p:titleStyle>
    <p:bodyStyle>
      <a:lvl1pPr marL="230142" indent="-230142" algn="l" defTabSz="909456" rtl="0" eaLnBrk="0" fontAlgn="base" latinLnBrk="1" hangingPunct="0">
        <a:spcBef>
          <a:spcPct val="20000"/>
        </a:spcBef>
        <a:spcAft>
          <a:spcPct val="0"/>
        </a:spcAft>
        <a:buSzPct val="100000"/>
        <a:buFont typeface="Arial" pitchFamily="34" charset="0"/>
        <a:buChar char="•"/>
        <a:defRPr lang="en-US" sz="1900" b="1">
          <a:solidFill>
            <a:schemeClr val="tx1"/>
          </a:solidFill>
          <a:latin typeface="+mn-lt"/>
          <a:ea typeface="+mn-ea"/>
          <a:cs typeface="+mn-cs"/>
        </a:defRPr>
      </a:lvl1pPr>
      <a:lvl2pPr marL="482503" indent="-249188" algn="l" defTabSz="909456" rtl="0" eaLnBrk="0" fontAlgn="base" latinLnBrk="1" hangingPunct="0">
        <a:spcBef>
          <a:spcPct val="20000"/>
        </a:spcBef>
        <a:spcAft>
          <a:spcPct val="0"/>
        </a:spcAft>
        <a:buSzPct val="100000"/>
        <a:buFont typeface="Arial" pitchFamily="34" charset="0"/>
        <a:buChar char="-"/>
        <a:defRPr lang="en-US" sz="1900">
          <a:solidFill>
            <a:schemeClr val="tx1"/>
          </a:solidFill>
          <a:latin typeface="+mn-lt"/>
          <a:ea typeface="+mn-ea"/>
          <a:cs typeface="+mn-cs"/>
        </a:defRPr>
      </a:lvl2pPr>
      <a:lvl3pPr marL="911043" indent="-301565" algn="l" defTabSz="909456" rtl="0" eaLnBrk="0" fontAlgn="base" latinLnBrk="1" hangingPunct="0">
        <a:spcBef>
          <a:spcPct val="20000"/>
        </a:spcBef>
        <a:spcAft>
          <a:spcPct val="0"/>
        </a:spcAft>
        <a:buSzPct val="100000"/>
        <a:buChar char="–"/>
        <a:defRPr lang="en-US" sz="2400">
          <a:solidFill>
            <a:schemeClr val="tx1"/>
          </a:solidFill>
          <a:latin typeface="+mn-lt"/>
          <a:ea typeface="+mn-ea"/>
          <a:cs typeface="+mn-cs"/>
        </a:defRPr>
      </a:lvl3pPr>
      <a:lvl4pPr marL="1368151" indent="-301565" algn="l" defTabSz="909456" rtl="0" eaLnBrk="0" fontAlgn="base" latinLnBrk="1" hangingPunct="0">
        <a:spcBef>
          <a:spcPct val="20000"/>
        </a:spcBef>
        <a:spcAft>
          <a:spcPct val="0"/>
        </a:spcAft>
        <a:buSzPct val="55000"/>
        <a:buFont typeface="Wingdings" pitchFamily="2" charset="2"/>
        <a:buChar char="¡"/>
        <a:defRPr lang="en-US" sz="2000">
          <a:solidFill>
            <a:schemeClr val="tx1"/>
          </a:solidFill>
          <a:latin typeface="+mn-lt"/>
          <a:ea typeface="+mn-ea"/>
          <a:cs typeface="+mn-cs"/>
        </a:defRPr>
      </a:lvl4pPr>
      <a:lvl5pPr marL="1825260" indent="-301565" algn="l" defTabSz="909456" rtl="0" eaLnBrk="0" fontAlgn="base" latinLnBrk="1" hangingPunct="0">
        <a:spcBef>
          <a:spcPct val="20000"/>
        </a:spcBef>
        <a:spcAft>
          <a:spcPct val="0"/>
        </a:spcAft>
        <a:buSzPct val="100000"/>
        <a:buChar char="–"/>
        <a:defRPr lang="en-US" sz="2000" dirty="0">
          <a:solidFill>
            <a:schemeClr val="tx1"/>
          </a:solidFill>
          <a:latin typeface="+mn-lt"/>
          <a:ea typeface="+mn-ea"/>
          <a:cs typeface="+mn-cs"/>
        </a:defRPr>
      </a:lvl5pPr>
      <a:lvl6pPr marL="2437302" indent="-304663" algn="l" defTabSz="911873" rtl="0" eaLnBrk="1" fontAlgn="base" latinLnBrk="1" hangingPunct="1">
        <a:spcBef>
          <a:spcPct val="20000"/>
        </a:spcBef>
        <a:spcAft>
          <a:spcPct val="0"/>
        </a:spcAft>
        <a:buSzPct val="100000"/>
        <a:buChar char="–"/>
        <a:defRPr sz="2000">
          <a:solidFill>
            <a:schemeClr val="tx1"/>
          </a:solidFill>
          <a:latin typeface="+mn-lt"/>
          <a:ea typeface="+mn-ea"/>
        </a:defRPr>
      </a:lvl6pPr>
      <a:lvl7pPr marL="3046627" indent="-304663" algn="l" defTabSz="911873" rtl="0" eaLnBrk="1" fontAlgn="base" latinLnBrk="1" hangingPunct="1">
        <a:spcBef>
          <a:spcPct val="20000"/>
        </a:spcBef>
        <a:spcAft>
          <a:spcPct val="0"/>
        </a:spcAft>
        <a:buSzPct val="100000"/>
        <a:buChar char="–"/>
        <a:defRPr sz="2000">
          <a:solidFill>
            <a:schemeClr val="tx1"/>
          </a:solidFill>
          <a:latin typeface="+mn-lt"/>
          <a:ea typeface="+mn-ea"/>
        </a:defRPr>
      </a:lvl7pPr>
      <a:lvl8pPr marL="3655952" indent="-304663" algn="l" defTabSz="911873" rtl="0" eaLnBrk="1" fontAlgn="base" latinLnBrk="1" hangingPunct="1">
        <a:spcBef>
          <a:spcPct val="20000"/>
        </a:spcBef>
        <a:spcAft>
          <a:spcPct val="0"/>
        </a:spcAft>
        <a:buSzPct val="100000"/>
        <a:buChar char="–"/>
        <a:defRPr sz="2000">
          <a:solidFill>
            <a:schemeClr val="tx1"/>
          </a:solidFill>
          <a:latin typeface="+mn-lt"/>
          <a:ea typeface="+mn-ea"/>
        </a:defRPr>
      </a:lvl8pPr>
      <a:lvl9pPr marL="4265277" indent="-304663" algn="l" defTabSz="911873" rtl="0" eaLnBrk="1" fontAlgn="base" latinLnBrk="1" hangingPunct="1">
        <a:spcBef>
          <a:spcPct val="20000"/>
        </a:spcBef>
        <a:spcAft>
          <a:spcPct val="0"/>
        </a:spcAft>
        <a:buSzPct val="100000"/>
        <a:buChar char="–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121865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25" algn="l" defTabSz="121865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650" algn="l" defTabSz="121865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975" algn="l" defTabSz="121865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302" algn="l" defTabSz="121865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627" algn="l" defTabSz="121865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952" algn="l" defTabSz="121865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277" algn="l" defTabSz="121865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4602" algn="l" defTabSz="121865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5C04E8A0-9B2C-46E3-BA96-3BBD5F1FE31F}"/>
              </a:ext>
            </a:extLst>
          </p:cNvPr>
          <p:cNvSpPr txBox="1"/>
          <p:nvPr/>
        </p:nvSpPr>
        <p:spPr>
          <a:xfrm>
            <a:off x="748748" y="2182468"/>
            <a:ext cx="9640956" cy="1340161"/>
          </a:xfrm>
          <a:prstGeom prst="rect">
            <a:avLst/>
          </a:prstGeom>
          <a:noFill/>
        </p:spPr>
        <p:txBody>
          <a:bodyPr vert="horz" wrap="square" lIns="91440" tIns="54000" rIns="91440" bIns="54000" rtlCol="0" anchor="t">
            <a:spAutoFit/>
          </a:bodyPr>
          <a:lstStyle/>
          <a:p>
            <a:pPr eaLnBrk="0" hangingPunct="0">
              <a:buClr>
                <a:schemeClr val="accent1"/>
              </a:buClr>
              <a:buSzPct val="65000"/>
            </a:pPr>
            <a:r>
              <a:rPr lang="ko-KR" altLang="en-US" sz="4000" b="1" dirty="0">
                <a:latin typeface="LIFEPLUS Bold" panose="00000800000000000000" pitchFamily="2" charset="-127"/>
                <a:ea typeface="LIFEPLUS Bold" panose="00000800000000000000" pitchFamily="2" charset="-127"/>
              </a:rPr>
              <a:t>한화 </a:t>
            </a:r>
            <a:r>
              <a:rPr lang="ko-KR" altLang="en-US" sz="4000" b="1" dirty="0" err="1">
                <a:latin typeface="LIFEPLUS Bold" panose="00000800000000000000" pitchFamily="2" charset="-127"/>
                <a:ea typeface="LIFEPLUS Bold" panose="00000800000000000000" pitchFamily="2" charset="-127"/>
              </a:rPr>
              <a:t>파이낸스</a:t>
            </a:r>
            <a:r>
              <a:rPr lang="ko-KR" altLang="en-US" sz="4000" b="1" dirty="0">
                <a:latin typeface="LIFEPLUS Bold" panose="00000800000000000000" pitchFamily="2" charset="-127"/>
                <a:ea typeface="LIFEPLUS Bold" panose="00000800000000000000" pitchFamily="2" charset="-127"/>
              </a:rPr>
              <a:t> 컵 </a:t>
            </a:r>
            <a:r>
              <a:rPr lang="en-US" altLang="ko-KR" sz="4000" b="1" dirty="0">
                <a:latin typeface="LIFEPLUS Bold" panose="00000800000000000000" pitchFamily="2" charset="-127"/>
                <a:ea typeface="LIFEPLUS Bold" panose="00000800000000000000" pitchFamily="2" charset="-127"/>
              </a:rPr>
              <a:t>2024</a:t>
            </a:r>
            <a:br>
              <a:rPr lang="en-US" altLang="ko-KR" sz="4000" b="1" dirty="0">
                <a:latin typeface="LIFEPLUS Bold" panose="00000800000000000000" pitchFamily="2" charset="-127"/>
                <a:ea typeface="LIFEPLUS Bold" panose="00000800000000000000" pitchFamily="2" charset="-127"/>
              </a:rPr>
            </a:br>
            <a:r>
              <a:rPr lang="ko-KR" altLang="en-US" sz="4000" b="1" dirty="0">
                <a:latin typeface="LIFEPLUS Bold" panose="00000800000000000000" pitchFamily="2" charset="-127"/>
                <a:ea typeface="LIFEPLUS Bold" panose="00000800000000000000" pitchFamily="2" charset="-127"/>
              </a:rPr>
              <a:t>골프 행사 기획</a:t>
            </a:r>
            <a:r>
              <a:rPr lang="en-US" altLang="ko-KR" sz="4000" b="1" dirty="0">
                <a:latin typeface="LIFEPLUS Bold" panose="00000800000000000000" pitchFamily="2" charset="-127"/>
                <a:ea typeface="LIFEPLUS Bold" panose="00000800000000000000" pitchFamily="2" charset="-127"/>
              </a:rPr>
              <a:t>(</a:t>
            </a:r>
            <a:r>
              <a:rPr lang="ko-KR" altLang="en-US" sz="4000" b="1" dirty="0">
                <a:latin typeface="LIFEPLUS Bold" panose="00000800000000000000" pitchFamily="2" charset="-127"/>
                <a:ea typeface="LIFEPLUS Bold" panose="00000800000000000000" pitchFamily="2" charset="-127"/>
              </a:rPr>
              <a:t>안</a:t>
            </a:r>
            <a:r>
              <a:rPr lang="en-US" altLang="ko-KR" sz="4000" b="1" dirty="0">
                <a:latin typeface="LIFEPLUS Bold" panose="00000800000000000000" pitchFamily="2" charset="-127"/>
                <a:ea typeface="LIFEPLUS Bold" panose="00000800000000000000" pitchFamily="2" charset="-127"/>
              </a:rPr>
              <a:t>)</a:t>
            </a:r>
            <a:endParaRPr lang="ko-KR" altLang="en-US" sz="4000" b="1" dirty="0">
              <a:latin typeface="LIFEPLUS Bold" panose="00000800000000000000" pitchFamily="2" charset="-127"/>
              <a:ea typeface="LIFEPLUS Bold" panose="00000800000000000000" pitchFamily="2" charset="-127"/>
            </a:endParaRPr>
          </a:p>
        </p:txBody>
      </p:sp>
      <p:sp>
        <p:nvSpPr>
          <p:cNvPr id="3" name="Google Shape;110;p1">
            <a:extLst>
              <a:ext uri="{FF2B5EF4-FFF2-40B4-BE49-F238E27FC236}">
                <a16:creationId xmlns:a16="http://schemas.microsoft.com/office/drawing/2014/main" id="{0EAE8DF9-BB45-372A-6598-80D8A855118E}"/>
              </a:ext>
            </a:extLst>
          </p:cNvPr>
          <p:cNvSpPr txBox="1"/>
          <p:nvPr/>
        </p:nvSpPr>
        <p:spPr>
          <a:xfrm>
            <a:off x="748748" y="3717277"/>
            <a:ext cx="5590659" cy="6992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22" tIns="71933" rIns="121822" bIns="71933" anchor="t" anchorCtr="0">
            <a:spAutoFit/>
          </a:bodyPr>
          <a:lstStyle/>
          <a:p>
            <a:pPr eaLnBrk="0" hangingPunct="0">
              <a:lnSpc>
                <a:spcPct val="150000"/>
              </a:lnSpc>
              <a:buClr>
                <a:schemeClr val="accent1"/>
              </a:buClr>
              <a:buSzPct val="65000"/>
            </a:pPr>
            <a:r>
              <a:rPr lang="en-US" altLang="ko-KR" sz="1200" kern="0" dirty="0">
                <a:solidFill>
                  <a:schemeClr val="dk1"/>
                </a:solidFill>
                <a:latin typeface="LIFEPLUS Light" panose="00000300000000000000" pitchFamily="2" charset="-127"/>
                <a:ea typeface="LIFEPLUS Light" panose="00000300000000000000" pitchFamily="2" charset="-127"/>
                <a:sym typeface="Arial"/>
              </a:rPr>
              <a:t>2024. 7</a:t>
            </a:r>
          </a:p>
          <a:p>
            <a:pPr eaLnBrk="0" hangingPunct="0">
              <a:lnSpc>
                <a:spcPct val="150000"/>
              </a:lnSpc>
              <a:buClr>
                <a:schemeClr val="accent1"/>
              </a:buClr>
              <a:buSzPct val="65000"/>
            </a:pPr>
            <a:r>
              <a:rPr lang="en-US" altLang="ko-KR" sz="1200" kern="0" dirty="0">
                <a:solidFill>
                  <a:schemeClr val="dk1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LIFEPLUS</a:t>
            </a:r>
            <a:r>
              <a:rPr lang="ko-KR" altLang="en-US" sz="1200" kern="0" dirty="0" err="1">
                <a:solidFill>
                  <a:schemeClr val="dk1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전략실</a:t>
            </a:r>
            <a:r>
              <a:rPr lang="en-US" altLang="ko-KR" sz="1200" kern="0" dirty="0">
                <a:solidFill>
                  <a:schemeClr val="dk1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 </a:t>
            </a:r>
            <a:r>
              <a:rPr lang="ko-KR" altLang="en-US" sz="1200" kern="0" dirty="0">
                <a:solidFill>
                  <a:schemeClr val="dk1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문화마케팅팀</a:t>
            </a:r>
          </a:p>
        </p:txBody>
      </p:sp>
    </p:spTree>
    <p:extLst>
      <p:ext uri="{BB962C8B-B14F-4D97-AF65-F5344CB8AC3E}">
        <p14:creationId xmlns:p14="http://schemas.microsoft.com/office/powerpoint/2010/main" val="32313747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표 4"/>
          <p:cNvGraphicFramePr>
            <a:graphicFrameLocks noGrp="1"/>
          </p:cNvGraphicFramePr>
          <p:nvPr/>
        </p:nvGraphicFramePr>
        <p:xfrm>
          <a:off x="8738766" y="980212"/>
          <a:ext cx="1456654" cy="720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22153">
                  <a:extLst>
                    <a:ext uri="{9D8B030D-6E8A-4147-A177-3AD203B41FA5}">
                      <a16:colId xmlns:a16="http://schemas.microsoft.com/office/drawing/2014/main" val="1539655591"/>
                    </a:ext>
                  </a:extLst>
                </a:gridCol>
                <a:gridCol w="734501">
                  <a:extLst>
                    <a:ext uri="{9D8B030D-6E8A-4147-A177-3AD203B41FA5}">
                      <a16:colId xmlns:a16="http://schemas.microsoft.com/office/drawing/2014/main" val="2897418607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b="1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춘식이</a:t>
                      </a:r>
                      <a:endParaRPr sz="1000" b="1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Team </a:t>
                      </a:r>
                    </a:p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NEO</a:t>
                      </a: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2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151478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b="1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튜브</a:t>
                      </a:r>
                      <a:endParaRPr sz="1000" b="1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1580389"/>
                  </a:ext>
                </a:extLst>
              </a:tr>
            </a:tbl>
          </a:graphicData>
        </a:graphic>
      </p:graphicFrame>
      <p:graphicFrame>
        <p:nvGraphicFramePr>
          <p:cNvPr id="6" name="표 5"/>
          <p:cNvGraphicFramePr>
            <a:graphicFrameLocks noGrp="1"/>
          </p:cNvGraphicFramePr>
          <p:nvPr/>
        </p:nvGraphicFramePr>
        <p:xfrm>
          <a:off x="1426128" y="980212"/>
          <a:ext cx="1456654" cy="720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28327">
                  <a:extLst>
                    <a:ext uri="{9D8B030D-6E8A-4147-A177-3AD203B41FA5}">
                      <a16:colId xmlns:a16="http://schemas.microsoft.com/office/drawing/2014/main" val="3106623385"/>
                    </a:ext>
                  </a:extLst>
                </a:gridCol>
                <a:gridCol w="728327">
                  <a:extLst>
                    <a:ext uri="{9D8B030D-6E8A-4147-A177-3AD203B41FA5}">
                      <a16:colId xmlns:a16="http://schemas.microsoft.com/office/drawing/2014/main" val="1344057266"/>
                    </a:ext>
                  </a:extLst>
                </a:gridCol>
              </a:tblGrid>
              <a:tr h="360000">
                <a:tc rowSpan="2">
                  <a:txBody>
                    <a:bodyPr/>
                    <a:lstStyle/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Team CLASSIC</a:t>
                      </a: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b="1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라이언</a:t>
                      </a:r>
                      <a:endParaRPr sz="1000" b="1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8602052"/>
                  </a:ext>
                </a:extLst>
              </a:tr>
              <a:tr h="360000">
                <a:tc vMerge="1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b="1" dirty="0" err="1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어피치</a:t>
                      </a:r>
                      <a:endParaRPr sz="1000" b="1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2953695"/>
                  </a:ext>
                </a:extLst>
              </a:tr>
            </a:tbl>
          </a:graphicData>
        </a:graphic>
      </p:graphicFrame>
      <p:grpSp>
        <p:nvGrpSpPr>
          <p:cNvPr id="14" name="그룹 13"/>
          <p:cNvGrpSpPr/>
          <p:nvPr/>
        </p:nvGrpSpPr>
        <p:grpSpPr>
          <a:xfrm>
            <a:off x="5199966" y="667837"/>
            <a:ext cx="1221616" cy="369332"/>
            <a:chOff x="5174799" y="659448"/>
            <a:chExt cx="1221616" cy="369332"/>
          </a:xfrm>
        </p:grpSpPr>
        <p:sp>
          <p:nvSpPr>
            <p:cNvPr id="8" name="직사각형 7"/>
            <p:cNvSpPr/>
            <p:nvPr/>
          </p:nvSpPr>
          <p:spPr>
            <a:xfrm>
              <a:off x="5174799" y="659448"/>
              <a:ext cx="1221616" cy="36933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7" name="직사각형 6"/>
            <p:cNvSpPr/>
            <p:nvPr/>
          </p:nvSpPr>
          <p:spPr>
            <a:xfrm>
              <a:off x="5174799" y="659448"/>
              <a:ext cx="1221616" cy="369332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wrap="none">
              <a:spAutoFit/>
            </a:bodyPr>
            <a:lstStyle/>
            <a:p>
              <a:pPr marL="3810" algn="ctr">
                <a:lnSpc>
                  <a:spcPct val="100000"/>
                </a:lnSpc>
                <a:spcBef>
                  <a:spcPts val="309"/>
                </a:spcBef>
              </a:pPr>
              <a:r>
                <a:rPr lang="en-US" altLang="ko-KR" b="1" dirty="0">
                  <a:solidFill>
                    <a:schemeClr val="accent2"/>
                  </a:solidFill>
                </a:rPr>
                <a:t>MATCH 1</a:t>
              </a:r>
              <a:endParaRPr lang="en-US" altLang="ko-KR" sz="1200" b="1" dirty="0">
                <a:solidFill>
                  <a:schemeClr val="accent2"/>
                </a:solidFill>
                <a:latin typeface="LIFEPLUS Light" panose="00000300000000000000" pitchFamily="2" charset="-127"/>
                <a:ea typeface="LIFEPLUS Light" panose="00000300000000000000" pitchFamily="2" charset="-127"/>
                <a:cs typeface="MBK CorporateS Light"/>
              </a:endParaRPr>
            </a:p>
          </p:txBody>
        </p:sp>
      </p:grpSp>
      <p:cxnSp>
        <p:nvCxnSpPr>
          <p:cNvPr id="11" name="직선 연결선 10"/>
          <p:cNvCxnSpPr/>
          <p:nvPr/>
        </p:nvCxnSpPr>
        <p:spPr>
          <a:xfrm>
            <a:off x="1426128" y="545284"/>
            <a:ext cx="900138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직선 연결선 11"/>
          <p:cNvCxnSpPr/>
          <p:nvPr/>
        </p:nvCxnSpPr>
        <p:spPr>
          <a:xfrm flipV="1">
            <a:off x="1426128" y="1963023"/>
            <a:ext cx="9001388" cy="139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직사각형 16"/>
          <p:cNvSpPr/>
          <p:nvPr/>
        </p:nvSpPr>
        <p:spPr>
          <a:xfrm>
            <a:off x="1426128" y="140538"/>
            <a:ext cx="805344" cy="3103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/>
              <a:t>1</a:t>
            </a:r>
            <a:r>
              <a:rPr lang="ko-KR" altLang="en-US" b="1" dirty="0" smtClean="0"/>
              <a:t>조</a:t>
            </a:r>
            <a:endParaRPr lang="ko-KR" altLang="en-US" b="1" dirty="0"/>
          </a:p>
        </p:txBody>
      </p:sp>
      <p:sp>
        <p:nvSpPr>
          <p:cNvPr id="20" name="순서도: 수행의 시작/종료 19"/>
          <p:cNvSpPr/>
          <p:nvPr/>
        </p:nvSpPr>
        <p:spPr>
          <a:xfrm>
            <a:off x="3464654" y="1164043"/>
            <a:ext cx="746620" cy="352337"/>
          </a:xfrm>
          <a:prstGeom prst="flowChartTerminator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/>
              <a:t>1UP</a:t>
            </a:r>
            <a:endParaRPr lang="ko-KR" altLang="en-US" b="1" dirty="0"/>
          </a:p>
        </p:txBody>
      </p:sp>
      <p:sp>
        <p:nvSpPr>
          <p:cNvPr id="21" name="순서도: 수행의 시작/종료 20"/>
          <p:cNvSpPr/>
          <p:nvPr/>
        </p:nvSpPr>
        <p:spPr>
          <a:xfrm>
            <a:off x="7299821" y="1164043"/>
            <a:ext cx="746620" cy="352337"/>
          </a:xfrm>
          <a:prstGeom prst="flowChartTerminator">
            <a:avLst/>
          </a:prstGeom>
          <a:solidFill>
            <a:srgbClr val="004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/>
              <a:t>1DN</a:t>
            </a:r>
            <a:endParaRPr lang="ko-KR" altLang="en-US" b="1" dirty="0"/>
          </a:p>
        </p:txBody>
      </p:sp>
      <p:graphicFrame>
        <p:nvGraphicFramePr>
          <p:cNvPr id="13" name="표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8250544"/>
              </p:ext>
            </p:extLst>
          </p:nvPr>
        </p:nvGraphicFramePr>
        <p:xfrm>
          <a:off x="1433572" y="2182992"/>
          <a:ext cx="5249596" cy="226063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46624">
                  <a:extLst>
                    <a:ext uri="{9D8B030D-6E8A-4147-A177-3AD203B41FA5}">
                      <a16:colId xmlns:a16="http://schemas.microsoft.com/office/drawing/2014/main" val="435560562"/>
                    </a:ext>
                  </a:extLst>
                </a:gridCol>
                <a:gridCol w="539298">
                  <a:extLst>
                    <a:ext uri="{9D8B030D-6E8A-4147-A177-3AD203B41FA5}">
                      <a16:colId xmlns:a16="http://schemas.microsoft.com/office/drawing/2014/main" val="1629267775"/>
                    </a:ext>
                  </a:extLst>
                </a:gridCol>
                <a:gridCol w="360334">
                  <a:extLst>
                    <a:ext uri="{9D8B030D-6E8A-4147-A177-3AD203B41FA5}">
                      <a16:colId xmlns:a16="http://schemas.microsoft.com/office/drawing/2014/main" val="1658436542"/>
                    </a:ext>
                  </a:extLst>
                </a:gridCol>
                <a:gridCol w="360334">
                  <a:extLst>
                    <a:ext uri="{9D8B030D-6E8A-4147-A177-3AD203B41FA5}">
                      <a16:colId xmlns:a16="http://schemas.microsoft.com/office/drawing/2014/main" val="3096784927"/>
                    </a:ext>
                  </a:extLst>
                </a:gridCol>
                <a:gridCol w="360334">
                  <a:extLst>
                    <a:ext uri="{9D8B030D-6E8A-4147-A177-3AD203B41FA5}">
                      <a16:colId xmlns:a16="http://schemas.microsoft.com/office/drawing/2014/main" val="2656961717"/>
                    </a:ext>
                  </a:extLst>
                </a:gridCol>
                <a:gridCol w="360334">
                  <a:extLst>
                    <a:ext uri="{9D8B030D-6E8A-4147-A177-3AD203B41FA5}">
                      <a16:colId xmlns:a16="http://schemas.microsoft.com/office/drawing/2014/main" val="2182681781"/>
                    </a:ext>
                  </a:extLst>
                </a:gridCol>
                <a:gridCol w="360334">
                  <a:extLst>
                    <a:ext uri="{9D8B030D-6E8A-4147-A177-3AD203B41FA5}">
                      <a16:colId xmlns:a16="http://schemas.microsoft.com/office/drawing/2014/main" val="935629693"/>
                    </a:ext>
                  </a:extLst>
                </a:gridCol>
                <a:gridCol w="360334">
                  <a:extLst>
                    <a:ext uri="{9D8B030D-6E8A-4147-A177-3AD203B41FA5}">
                      <a16:colId xmlns:a16="http://schemas.microsoft.com/office/drawing/2014/main" val="358203509"/>
                    </a:ext>
                  </a:extLst>
                </a:gridCol>
                <a:gridCol w="360334">
                  <a:extLst>
                    <a:ext uri="{9D8B030D-6E8A-4147-A177-3AD203B41FA5}">
                      <a16:colId xmlns:a16="http://schemas.microsoft.com/office/drawing/2014/main" val="1040126911"/>
                    </a:ext>
                  </a:extLst>
                </a:gridCol>
                <a:gridCol w="360334">
                  <a:extLst>
                    <a:ext uri="{9D8B030D-6E8A-4147-A177-3AD203B41FA5}">
                      <a16:colId xmlns:a16="http://schemas.microsoft.com/office/drawing/2014/main" val="34591762"/>
                    </a:ext>
                  </a:extLst>
                </a:gridCol>
                <a:gridCol w="360334">
                  <a:extLst>
                    <a:ext uri="{9D8B030D-6E8A-4147-A177-3AD203B41FA5}">
                      <a16:colId xmlns:a16="http://schemas.microsoft.com/office/drawing/2014/main" val="664748544"/>
                    </a:ext>
                  </a:extLst>
                </a:gridCol>
                <a:gridCol w="360334">
                  <a:extLst>
                    <a:ext uri="{9D8B030D-6E8A-4147-A177-3AD203B41FA5}">
                      <a16:colId xmlns:a16="http://schemas.microsoft.com/office/drawing/2014/main" val="597929567"/>
                    </a:ext>
                  </a:extLst>
                </a:gridCol>
                <a:gridCol w="360334">
                  <a:extLst>
                    <a:ext uri="{9D8B030D-6E8A-4147-A177-3AD203B41FA5}">
                      <a16:colId xmlns:a16="http://schemas.microsoft.com/office/drawing/2014/main" val="3822874130"/>
                    </a:ext>
                  </a:extLst>
                </a:gridCol>
              </a:tblGrid>
              <a:tr h="210862"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Times New Roman"/>
                        </a:rPr>
                        <a:t>HOLE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11"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altLang="ko-KR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West</a:t>
                      </a: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 Course(Out)</a:t>
                      </a: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8069976"/>
                  </a:ext>
                </a:extLst>
              </a:tr>
              <a:tr h="224215"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2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6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7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8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9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 smtClean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OUT</a:t>
                      </a: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1" dirty="0" smtClean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6821770"/>
                  </a:ext>
                </a:extLst>
              </a:tr>
              <a:tr h="357495"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altLang="ko-KR" sz="1100" b="1" i="0" kern="1200" dirty="0" smtClean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TCH 1</a:t>
                      </a:r>
                      <a:endParaRPr sz="900" b="1" dirty="0">
                        <a:solidFill>
                          <a:schemeClr val="accent2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spc="-5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Par</a:t>
                      </a:r>
                      <a:endParaRPr lang="en-US" altLang="ko-KR" sz="1200" dirty="0" smtClean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6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4253613"/>
                  </a:ext>
                </a:extLst>
              </a:tr>
              <a:tr h="224215">
                <a:tc rowSpan="2">
                  <a:txBody>
                    <a:bodyPr/>
                    <a:lstStyle/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Team CLASSIC</a:t>
                      </a: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라이언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4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4</a:t>
                      </a: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4607767"/>
                  </a:ext>
                </a:extLst>
              </a:tr>
              <a:tr h="336872">
                <a:tc vMerge="1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err="1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어피치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4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5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6844732"/>
                  </a:ext>
                </a:extLst>
              </a:tr>
              <a:tr h="224215">
                <a:tc gridSpan="2">
                  <a:txBody>
                    <a:bodyPr/>
                    <a:lstStyle/>
                    <a:p>
                      <a:pPr algn="ctr"/>
                      <a:r>
                        <a:rPr lang="en-US" altLang="ko-KR" sz="10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ORE</a:t>
                      </a:r>
                      <a:endParaRPr lang="ko-KR" altLang="en-US" sz="1000" dirty="0"/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chemeClr val="accent2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1UP</a:t>
                      </a:r>
                      <a:endParaRPr lang="en-US" altLang="ko-KR" sz="1000" b="0" i="0" u="none" strike="noStrike" kern="1200" dirty="0">
                        <a:solidFill>
                          <a:schemeClr val="accent2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AS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0181106"/>
                  </a:ext>
                </a:extLst>
              </a:tr>
              <a:tr h="224215">
                <a:tc rowSpan="2">
                  <a:txBody>
                    <a:bodyPr/>
                    <a:lstStyle/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Team </a:t>
                      </a:r>
                    </a:p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NEO</a:t>
                      </a: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200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춘식이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5</a:t>
                      </a: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5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7296861"/>
                  </a:ext>
                </a:extLst>
              </a:tr>
              <a:tr h="224215">
                <a:tc vMerge="1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튜브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5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3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7042093"/>
                  </a:ext>
                </a:extLst>
              </a:tr>
              <a:tr h="224215">
                <a:tc gridSpan="2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altLang="ko-KR" sz="10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ORE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42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1DN</a:t>
                      </a:r>
                      <a:endParaRPr lang="en-US" altLang="ko-KR" sz="1000" b="0" i="0" u="none" strike="noStrike" kern="1200" dirty="0">
                        <a:solidFill>
                          <a:srgbClr val="0042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AS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049974"/>
                  </a:ext>
                </a:extLst>
              </a:tr>
            </a:tbl>
          </a:graphicData>
        </a:graphic>
      </p:graphicFrame>
      <p:graphicFrame>
        <p:nvGraphicFramePr>
          <p:cNvPr id="15" name="표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1650466"/>
              </p:ext>
            </p:extLst>
          </p:nvPr>
        </p:nvGraphicFramePr>
        <p:xfrm>
          <a:off x="2721797" y="4505566"/>
          <a:ext cx="3952982" cy="210076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59362">
                  <a:extLst>
                    <a:ext uri="{9D8B030D-6E8A-4147-A177-3AD203B41FA5}">
                      <a16:colId xmlns:a16="http://schemas.microsoft.com/office/drawing/2014/main" val="4178536217"/>
                    </a:ext>
                  </a:extLst>
                </a:gridCol>
                <a:gridCol w="359362">
                  <a:extLst>
                    <a:ext uri="{9D8B030D-6E8A-4147-A177-3AD203B41FA5}">
                      <a16:colId xmlns:a16="http://schemas.microsoft.com/office/drawing/2014/main" val="2330894431"/>
                    </a:ext>
                  </a:extLst>
                </a:gridCol>
                <a:gridCol w="359362">
                  <a:extLst>
                    <a:ext uri="{9D8B030D-6E8A-4147-A177-3AD203B41FA5}">
                      <a16:colId xmlns:a16="http://schemas.microsoft.com/office/drawing/2014/main" val="617382797"/>
                    </a:ext>
                  </a:extLst>
                </a:gridCol>
                <a:gridCol w="359362">
                  <a:extLst>
                    <a:ext uri="{9D8B030D-6E8A-4147-A177-3AD203B41FA5}">
                      <a16:colId xmlns:a16="http://schemas.microsoft.com/office/drawing/2014/main" val="1438807292"/>
                    </a:ext>
                  </a:extLst>
                </a:gridCol>
                <a:gridCol w="359362">
                  <a:extLst>
                    <a:ext uri="{9D8B030D-6E8A-4147-A177-3AD203B41FA5}">
                      <a16:colId xmlns:a16="http://schemas.microsoft.com/office/drawing/2014/main" val="4231198664"/>
                    </a:ext>
                  </a:extLst>
                </a:gridCol>
                <a:gridCol w="359362">
                  <a:extLst>
                    <a:ext uri="{9D8B030D-6E8A-4147-A177-3AD203B41FA5}">
                      <a16:colId xmlns:a16="http://schemas.microsoft.com/office/drawing/2014/main" val="1097696293"/>
                    </a:ext>
                  </a:extLst>
                </a:gridCol>
                <a:gridCol w="359362">
                  <a:extLst>
                    <a:ext uri="{9D8B030D-6E8A-4147-A177-3AD203B41FA5}">
                      <a16:colId xmlns:a16="http://schemas.microsoft.com/office/drawing/2014/main" val="1805759318"/>
                    </a:ext>
                  </a:extLst>
                </a:gridCol>
                <a:gridCol w="359362">
                  <a:extLst>
                    <a:ext uri="{9D8B030D-6E8A-4147-A177-3AD203B41FA5}">
                      <a16:colId xmlns:a16="http://schemas.microsoft.com/office/drawing/2014/main" val="819284343"/>
                    </a:ext>
                  </a:extLst>
                </a:gridCol>
                <a:gridCol w="359362">
                  <a:extLst>
                    <a:ext uri="{9D8B030D-6E8A-4147-A177-3AD203B41FA5}">
                      <a16:colId xmlns:a16="http://schemas.microsoft.com/office/drawing/2014/main" val="626517755"/>
                    </a:ext>
                  </a:extLst>
                </a:gridCol>
                <a:gridCol w="359362">
                  <a:extLst>
                    <a:ext uri="{9D8B030D-6E8A-4147-A177-3AD203B41FA5}">
                      <a16:colId xmlns:a16="http://schemas.microsoft.com/office/drawing/2014/main" val="1803632753"/>
                    </a:ext>
                  </a:extLst>
                </a:gridCol>
                <a:gridCol w="359362">
                  <a:extLst>
                    <a:ext uri="{9D8B030D-6E8A-4147-A177-3AD203B41FA5}">
                      <a16:colId xmlns:a16="http://schemas.microsoft.com/office/drawing/2014/main" val="218736891"/>
                    </a:ext>
                  </a:extLst>
                </a:gridCol>
              </a:tblGrid>
              <a:tr h="144234">
                <a:tc gridSpan="9"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 smtClean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East Course(In)</a:t>
                      </a:r>
                      <a:endParaRPr lang="en-US" altLang="ko-KR"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50">
                        <a:solidFill>
                          <a:schemeClr val="bg1"/>
                        </a:solidFill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849228"/>
                  </a:ext>
                </a:extLst>
              </a:tr>
              <a:tr h="23497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0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1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2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3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4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5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6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7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8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 smtClean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IN</a:t>
                      </a: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dirty="0" smtClean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합계</a:t>
                      </a:r>
                      <a:endParaRPr lang="en-US" altLang="ko-KR" sz="1100" b="1" dirty="0" smtClean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5648930"/>
                  </a:ext>
                </a:extLst>
              </a:tr>
              <a:tr h="234973"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00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6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72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078715"/>
                  </a:ext>
                </a:extLst>
              </a:tr>
              <a:tr h="234973"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0678587"/>
                  </a:ext>
                </a:extLst>
              </a:tr>
              <a:tr h="234973"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2587159"/>
                  </a:ext>
                </a:extLst>
              </a:tr>
              <a:tr h="234973"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655535"/>
                  </a:ext>
                </a:extLst>
              </a:tr>
              <a:tr h="234973"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3128732"/>
                  </a:ext>
                </a:extLst>
              </a:tr>
              <a:tr h="234973"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3100229"/>
                  </a:ext>
                </a:extLst>
              </a:tr>
              <a:tr h="234973"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2651095"/>
                  </a:ext>
                </a:extLst>
              </a:tr>
            </a:tbl>
          </a:graphicData>
        </a:graphic>
      </p:graphicFrame>
      <p:graphicFrame>
        <p:nvGraphicFramePr>
          <p:cNvPr id="16" name="표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8662159"/>
              </p:ext>
            </p:extLst>
          </p:nvPr>
        </p:nvGraphicFramePr>
        <p:xfrm>
          <a:off x="1425177" y="4505566"/>
          <a:ext cx="1296620" cy="210076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45272">
                  <a:extLst>
                    <a:ext uri="{9D8B030D-6E8A-4147-A177-3AD203B41FA5}">
                      <a16:colId xmlns:a16="http://schemas.microsoft.com/office/drawing/2014/main" val="2240086606"/>
                    </a:ext>
                  </a:extLst>
                </a:gridCol>
                <a:gridCol w="551348">
                  <a:extLst>
                    <a:ext uri="{9D8B030D-6E8A-4147-A177-3AD203B41FA5}">
                      <a16:colId xmlns:a16="http://schemas.microsoft.com/office/drawing/2014/main" val="1389502969"/>
                    </a:ext>
                  </a:extLst>
                </a:gridCol>
              </a:tblGrid>
              <a:tr h="25468"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Times New Roman"/>
                        </a:rPr>
                        <a:t>HOLE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996691"/>
                  </a:ext>
                </a:extLst>
              </a:tr>
              <a:tr h="418997"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8970780"/>
                  </a:ext>
                </a:extLst>
              </a:tr>
              <a:tr h="238889"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altLang="ko-KR" sz="1100" b="1" i="0" kern="1200" dirty="0" smtClean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TCH 1</a:t>
                      </a:r>
                      <a:endParaRPr sz="900" b="1" dirty="0">
                        <a:solidFill>
                          <a:schemeClr val="accent2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spc="-5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Par</a:t>
                      </a:r>
                      <a:endParaRPr lang="en-US" altLang="ko-KR" sz="1200" dirty="0" smtClean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0747172"/>
                  </a:ext>
                </a:extLst>
              </a:tr>
              <a:tr h="229722">
                <a:tc rowSpan="2">
                  <a:txBody>
                    <a:bodyPr/>
                    <a:lstStyle/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Team CLASSIC</a:t>
                      </a: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라이언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8238193"/>
                  </a:ext>
                </a:extLst>
              </a:tr>
              <a:tr h="246368">
                <a:tc vMerge="1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err="1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어피치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6715236"/>
                  </a:ext>
                </a:extLst>
              </a:tr>
              <a:tr h="229722">
                <a:tc gridSpan="2">
                  <a:txBody>
                    <a:bodyPr/>
                    <a:lstStyle/>
                    <a:p>
                      <a:pPr algn="ctr"/>
                      <a:r>
                        <a:rPr lang="en-US" altLang="ko-KR" sz="10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ORE</a:t>
                      </a:r>
                      <a:endParaRPr lang="ko-KR" altLang="en-US" sz="1000" dirty="0"/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ko-KR" altLang="en-US" dirty="0"/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4609752"/>
                  </a:ext>
                </a:extLst>
              </a:tr>
              <a:tr h="229722">
                <a:tc rowSpan="2">
                  <a:txBody>
                    <a:bodyPr/>
                    <a:lstStyle/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Team </a:t>
                      </a:r>
                    </a:p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NEO</a:t>
                      </a: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200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춘식이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2392843"/>
                  </a:ext>
                </a:extLst>
              </a:tr>
              <a:tr h="252153">
                <a:tc vMerge="1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튜브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7475093"/>
                  </a:ext>
                </a:extLst>
              </a:tr>
              <a:tr h="229722">
                <a:tc gridSpan="2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altLang="ko-KR" sz="10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ORE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6309191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5495488" y="1164043"/>
            <a:ext cx="5201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 smtClean="0"/>
              <a:t>1H</a:t>
            </a:r>
            <a:endParaRPr lang="ko-KR" altLang="en-US" b="1" dirty="0"/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3168" y="2182992"/>
            <a:ext cx="3753374" cy="4423337"/>
          </a:xfrm>
          <a:prstGeom prst="rect">
            <a:avLst/>
          </a:prstGeom>
        </p:spPr>
      </p:pic>
      <p:sp>
        <p:nvSpPr>
          <p:cNvPr id="4" name="직사각형 3"/>
          <p:cNvSpPr/>
          <p:nvPr/>
        </p:nvSpPr>
        <p:spPr bwMode="auto">
          <a:xfrm>
            <a:off x="7474943" y="5882054"/>
            <a:ext cx="536330" cy="378069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ko-KR" altLang="en-US" sz="1200" dirty="0">
              <a:latin typeface="LIFEPLUS Light" panose="00000300000000000000" pitchFamily="2" charset="-127"/>
              <a:ea typeface="LIFEPLUS Light" panose="00000300000000000000" pitchFamily="2" charset="-127"/>
              <a:cs typeface="Arial" charset="0"/>
            </a:endParaRPr>
          </a:p>
        </p:txBody>
      </p:sp>
      <p:pic>
        <p:nvPicPr>
          <p:cNvPr id="9" name="그림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0148" y="3048038"/>
            <a:ext cx="2430530" cy="1457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79843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latin typeface="LIFEPLUS Light" panose="00000300000000000000" pitchFamily="2" charset="-127"/>
                <a:ea typeface="LIFEPLUS Light" panose="00000300000000000000" pitchFamily="2" charset="-127"/>
              </a:rPr>
              <a:t>대회 </a:t>
            </a:r>
            <a:r>
              <a:rPr lang="ko-KR" altLang="en-US" dirty="0" err="1">
                <a:latin typeface="LIFEPLUS Light" panose="00000300000000000000" pitchFamily="2" charset="-127"/>
                <a:ea typeface="LIFEPLUS Light" panose="00000300000000000000" pitchFamily="2" charset="-127"/>
              </a:rPr>
              <a:t>엠블럼</a:t>
            </a:r>
            <a:endParaRPr lang="ko-KR" altLang="en-US" dirty="0"/>
          </a:p>
        </p:txBody>
      </p:sp>
      <p:pic>
        <p:nvPicPr>
          <p:cNvPr id="14" name="그림 13">
            <a:extLst>
              <a:ext uri="{FF2B5EF4-FFF2-40B4-BE49-F238E27FC236}">
                <a16:creationId xmlns:a16="http://schemas.microsoft.com/office/drawing/2014/main" id="{A8B17E00-4B58-6EEE-C09D-EB49F0AFF7A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95"/>
          <a:stretch/>
        </p:blipFill>
        <p:spPr>
          <a:xfrm>
            <a:off x="10274" y="2301412"/>
            <a:ext cx="6349430" cy="3636109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80216967-1009-E0EC-13DA-E538DFAE3D7B}"/>
              </a:ext>
            </a:extLst>
          </p:cNvPr>
          <p:cNvSpPr txBox="1"/>
          <p:nvPr/>
        </p:nvSpPr>
        <p:spPr>
          <a:xfrm>
            <a:off x="2660682" y="1823664"/>
            <a:ext cx="11095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b="1">
                <a:latin typeface="LIFEPLUS Light" panose="00000300000000000000" pitchFamily="2" charset="-127"/>
                <a:ea typeface="LIFEPLUS Light" panose="00000300000000000000" pitchFamily="2" charset="-127"/>
              </a:rPr>
              <a:t>한화 서체 적용</a:t>
            </a:r>
            <a:endParaRPr lang="en-US" altLang="ko-KR" sz="1200" b="1" dirty="0">
              <a:latin typeface="LIFEPLUS Light" panose="00000300000000000000" pitchFamily="2" charset="-127"/>
              <a:ea typeface="LIFEPLUS Light" panose="00000300000000000000" pitchFamily="2" charset="-127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EB673DB-6B5C-DBAC-F4C5-439CBE4503A5}"/>
              </a:ext>
            </a:extLst>
          </p:cNvPr>
          <p:cNvSpPr txBox="1"/>
          <p:nvPr/>
        </p:nvSpPr>
        <p:spPr>
          <a:xfrm>
            <a:off x="7956527" y="1823664"/>
            <a:ext cx="20201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dirty="0">
                <a:latin typeface="LIFEPLUS Light" panose="00000300000000000000" pitchFamily="2" charset="-127"/>
                <a:ea typeface="LIFEPLUS Light" panose="00000300000000000000" pitchFamily="2" charset="-127"/>
              </a:rPr>
              <a:t>한화</a:t>
            </a:r>
            <a:r>
              <a:rPr lang="en-US" altLang="ko-KR" sz="1200" b="1" dirty="0">
                <a:latin typeface="LIFEPLUS Light" panose="00000300000000000000" pitchFamily="2" charset="-127"/>
                <a:ea typeface="LIFEPLUS Light" panose="00000300000000000000" pitchFamily="2" charset="-127"/>
              </a:rPr>
              <a:t>/ </a:t>
            </a:r>
            <a:r>
              <a:rPr lang="ko-KR" altLang="en-US" sz="1200" b="1" dirty="0">
                <a:latin typeface="LIFEPLUS Light" panose="00000300000000000000" pitchFamily="2" charset="-127"/>
                <a:ea typeface="LIFEPLUS Light" panose="00000300000000000000" pitchFamily="2" charset="-127"/>
              </a:rPr>
              <a:t>라이프플러스 서체 적용</a:t>
            </a:r>
            <a:endParaRPr lang="en-US" altLang="ko-KR" sz="1200" b="1" dirty="0">
              <a:latin typeface="LIFEPLUS Light" panose="00000300000000000000" pitchFamily="2" charset="-127"/>
              <a:ea typeface="LIFEPLUS Light" panose="00000300000000000000" pitchFamily="2" charset="-127"/>
            </a:endParaRPr>
          </a:p>
        </p:txBody>
      </p:sp>
      <p:pic>
        <p:nvPicPr>
          <p:cNvPr id="28" name="그림 27">
            <a:extLst>
              <a:ext uri="{FF2B5EF4-FFF2-40B4-BE49-F238E27FC236}">
                <a16:creationId xmlns:a16="http://schemas.microsoft.com/office/drawing/2014/main" id="{F404D83E-F33F-92E3-E21C-228E96F536B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687" r="3955"/>
          <a:stretch/>
        </p:blipFill>
        <p:spPr>
          <a:xfrm>
            <a:off x="6054904" y="2301411"/>
            <a:ext cx="6081875" cy="3663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48737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latin typeface="LIFEPLUS Light" panose="00000300000000000000" pitchFamily="2" charset="-127"/>
                <a:ea typeface="LIFEPLUS Light" panose="00000300000000000000" pitchFamily="2" charset="-127"/>
              </a:rPr>
              <a:t>대회 </a:t>
            </a:r>
            <a:r>
              <a:rPr lang="ko-KR" altLang="en-US" dirty="0" err="1">
                <a:latin typeface="LIFEPLUS Light" panose="00000300000000000000" pitchFamily="2" charset="-127"/>
                <a:ea typeface="LIFEPLUS Light" panose="00000300000000000000" pitchFamily="2" charset="-127"/>
              </a:rPr>
              <a:t>엠블럼</a:t>
            </a:r>
            <a:r>
              <a:rPr lang="en-US" altLang="ko-KR" dirty="0">
                <a:latin typeface="LIFEPLUS Light" panose="00000300000000000000" pitchFamily="2" charset="-127"/>
                <a:ea typeface="LIFEPLUS Light" panose="00000300000000000000" pitchFamily="2" charset="-127"/>
              </a:rPr>
              <a:t>_</a:t>
            </a:r>
            <a:r>
              <a:rPr lang="ko-KR" altLang="en-US" dirty="0">
                <a:latin typeface="LIFEPLUS Light" panose="00000300000000000000" pitchFamily="2" charset="-127"/>
                <a:ea typeface="LIFEPLUS Light" panose="00000300000000000000" pitchFamily="2" charset="-127"/>
              </a:rPr>
              <a:t>팀 로고</a:t>
            </a:r>
            <a:endParaRPr lang="ko-KR" alt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3744541-D31F-FBC3-FD16-B5FC0AA03913}"/>
              </a:ext>
            </a:extLst>
          </p:cNvPr>
          <p:cNvSpPr txBox="1"/>
          <p:nvPr/>
        </p:nvSpPr>
        <p:spPr>
          <a:xfrm>
            <a:off x="2765533" y="5358753"/>
            <a:ext cx="246093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방패와 골프채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, 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한화 로고를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 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모티브로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FEPLUS Light" panose="00000300000000000000" pitchFamily="2" charset="-127"/>
              <a:ea typeface="LIFEPLUS Light" panose="00000300000000000000" pitchFamily="2" charset="-127"/>
              <a:cs typeface="+mn-cs"/>
            </a:endParaRP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CLASSIC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한 이미지 구현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FEPLUS Light" panose="00000300000000000000" pitchFamily="2" charset="-127"/>
              <a:ea typeface="LIFEPLUS Light" panose="00000300000000000000" pitchFamily="2" charset="-127"/>
              <a:cs typeface="+mn-cs"/>
            </a:endParaRPr>
          </a:p>
        </p:txBody>
      </p:sp>
      <p:pic>
        <p:nvPicPr>
          <p:cNvPr id="18" name="그림 17">
            <a:extLst>
              <a:ext uri="{FF2B5EF4-FFF2-40B4-BE49-F238E27FC236}">
                <a16:creationId xmlns:a16="http://schemas.microsoft.com/office/drawing/2014/main" id="{B5FA2F07-B38F-DF54-0719-5959371FCE6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5275" t="53673" r="45327" b="34695"/>
          <a:stretch/>
        </p:blipFill>
        <p:spPr>
          <a:xfrm>
            <a:off x="2810929" y="4038444"/>
            <a:ext cx="2217739" cy="87748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BF85E21C-76F1-5EB5-7062-19DCCC8A5A97}"/>
              </a:ext>
            </a:extLst>
          </p:cNvPr>
          <p:cNvSpPr txBox="1"/>
          <p:nvPr/>
        </p:nvSpPr>
        <p:spPr>
          <a:xfrm>
            <a:off x="7941313" y="5358753"/>
            <a:ext cx="22974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‘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새로움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’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을 의미하는 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‘NEO’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를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FEPLUS Light" panose="00000300000000000000" pitchFamily="2" charset="-127"/>
              <a:ea typeface="LIFEPLUS Light" panose="00000300000000000000" pitchFamily="2" charset="-127"/>
              <a:cs typeface="+mn-cs"/>
            </a:endParaRP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새롭게 부활하는 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‘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피닉스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’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로 형상화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FEPLUS Light" panose="00000300000000000000" pitchFamily="2" charset="-127"/>
              <a:ea typeface="LIFEPLUS Light" panose="00000300000000000000" pitchFamily="2" charset="-127"/>
              <a:cs typeface="+mn-cs"/>
            </a:endParaRPr>
          </a:p>
        </p:txBody>
      </p:sp>
      <p:grpSp>
        <p:nvGrpSpPr>
          <p:cNvPr id="27" name="그룹 26">
            <a:extLst>
              <a:ext uri="{FF2B5EF4-FFF2-40B4-BE49-F238E27FC236}">
                <a16:creationId xmlns:a16="http://schemas.microsoft.com/office/drawing/2014/main" id="{221F12A9-1323-67E8-DF67-AA7BE8D9E032}"/>
              </a:ext>
            </a:extLst>
          </p:cNvPr>
          <p:cNvGrpSpPr/>
          <p:nvPr/>
        </p:nvGrpSpPr>
        <p:grpSpPr>
          <a:xfrm>
            <a:off x="7226300" y="2001789"/>
            <a:ext cx="3575050" cy="1646502"/>
            <a:chOff x="7226300" y="1757636"/>
            <a:chExt cx="3575050" cy="1646502"/>
          </a:xfrm>
        </p:grpSpPr>
        <p:pic>
          <p:nvPicPr>
            <p:cNvPr id="12" name="그림 11">
              <a:extLst>
                <a:ext uri="{FF2B5EF4-FFF2-40B4-BE49-F238E27FC236}">
                  <a16:creationId xmlns:a16="http://schemas.microsoft.com/office/drawing/2014/main" id="{A0C147BF-81D0-43F9-B8FA-0E24FBF896E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66365" t="5996" r="8681" b="69996"/>
            <a:stretch/>
          </p:blipFill>
          <p:spPr>
            <a:xfrm>
              <a:off x="7226300" y="1757636"/>
              <a:ext cx="1711325" cy="1646502"/>
            </a:xfrm>
            <a:prstGeom prst="rect">
              <a:avLst/>
            </a:prstGeom>
          </p:spPr>
        </p:pic>
        <p:pic>
          <p:nvPicPr>
            <p:cNvPr id="13" name="그림 12">
              <a:extLst>
                <a:ext uri="{FF2B5EF4-FFF2-40B4-BE49-F238E27FC236}">
                  <a16:creationId xmlns:a16="http://schemas.microsoft.com/office/drawing/2014/main" id="{FD4CAC2B-514E-2153-84A8-173C44C1981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65753" t="29548" r="9293" b="46444"/>
            <a:stretch/>
          </p:blipFill>
          <p:spPr>
            <a:xfrm>
              <a:off x="9090025" y="1757636"/>
              <a:ext cx="1711325" cy="1646502"/>
            </a:xfrm>
            <a:prstGeom prst="rect">
              <a:avLst/>
            </a:prstGeom>
          </p:spPr>
        </p:pic>
      </p:grpSp>
      <p:pic>
        <p:nvPicPr>
          <p:cNvPr id="24" name="그림 23">
            <a:extLst>
              <a:ext uri="{FF2B5EF4-FFF2-40B4-BE49-F238E27FC236}">
                <a16:creationId xmlns:a16="http://schemas.microsoft.com/office/drawing/2014/main" id="{98D11ADB-16AC-A615-BDFF-65E5DDE1796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4033" t="53673" r="6569" b="34695"/>
          <a:stretch/>
        </p:blipFill>
        <p:spPr>
          <a:xfrm>
            <a:off x="7904956" y="4064782"/>
            <a:ext cx="2217739" cy="877480"/>
          </a:xfrm>
          <a:prstGeom prst="rect">
            <a:avLst/>
          </a:prstGeom>
        </p:spPr>
      </p:pic>
      <p:cxnSp>
        <p:nvCxnSpPr>
          <p:cNvPr id="35" name="직선 연결선 34">
            <a:extLst>
              <a:ext uri="{FF2B5EF4-FFF2-40B4-BE49-F238E27FC236}">
                <a16:creationId xmlns:a16="http://schemas.microsoft.com/office/drawing/2014/main" id="{03E8E233-FA2A-21F9-50F0-30C89C81D465}"/>
              </a:ext>
            </a:extLst>
          </p:cNvPr>
          <p:cNvCxnSpPr>
            <a:cxnSpLocks/>
          </p:cNvCxnSpPr>
          <p:nvPr/>
        </p:nvCxnSpPr>
        <p:spPr bwMode="auto">
          <a:xfrm>
            <a:off x="6466811" y="1717964"/>
            <a:ext cx="0" cy="4590761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3" name="직사각형 2">
            <a:extLst>
              <a:ext uri="{FF2B5EF4-FFF2-40B4-BE49-F238E27FC236}">
                <a16:creationId xmlns:a16="http://schemas.microsoft.com/office/drawing/2014/main" id="{5AA3C770-7EF6-92BB-4887-5140C9800F92}"/>
              </a:ext>
            </a:extLst>
          </p:cNvPr>
          <p:cNvSpPr/>
          <p:nvPr/>
        </p:nvSpPr>
        <p:spPr bwMode="auto">
          <a:xfrm>
            <a:off x="1653309" y="1126253"/>
            <a:ext cx="4627413" cy="39380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FEPLUS Bold" panose="00000800000000000000" pitchFamily="2" charset="-127"/>
                <a:ea typeface="LIFEPLUS Bold" panose="00000800000000000000" pitchFamily="2" charset="-127"/>
                <a:cs typeface="Arial" charset="0"/>
              </a:rPr>
              <a:t>TEAM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FEPLUS Bold" panose="00000800000000000000" pitchFamily="2" charset="-127"/>
                <a:ea typeface="LIFEPLUS Bold" panose="00000800000000000000" pitchFamily="2" charset="-127"/>
                <a:cs typeface="Arial" charset="0"/>
              </a:rPr>
              <a:t> 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FEPLUS Bold" panose="00000800000000000000" pitchFamily="2" charset="-127"/>
                <a:ea typeface="LIFEPLUS Bold" panose="00000800000000000000" pitchFamily="2" charset="-127"/>
                <a:cs typeface="Arial" charset="0"/>
              </a:rPr>
              <a:t>CLASSIC</a:t>
            </a:r>
            <a:endParaRPr kumimoji="0" lang="ko-KR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IFEPLUS Bold" panose="00000800000000000000" pitchFamily="2" charset="-127"/>
              <a:ea typeface="LIFEPLUS Bold" panose="00000800000000000000" pitchFamily="2" charset="-127"/>
              <a:cs typeface="Arial" charset="0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840969BE-2F47-AEF7-0D70-A7237E0D9FC0}"/>
              </a:ext>
            </a:extLst>
          </p:cNvPr>
          <p:cNvSpPr/>
          <p:nvPr/>
        </p:nvSpPr>
        <p:spPr bwMode="auto">
          <a:xfrm>
            <a:off x="6623918" y="1122311"/>
            <a:ext cx="4627413" cy="39380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FEPLUS Bold" panose="00000800000000000000" pitchFamily="2" charset="-127"/>
                <a:ea typeface="LIFEPLUS Bold" panose="00000800000000000000" pitchFamily="2" charset="-127"/>
                <a:cs typeface="Arial" charset="0"/>
              </a:rPr>
              <a:t>TEAM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FEPLUS Bold" panose="00000800000000000000" pitchFamily="2" charset="-127"/>
                <a:ea typeface="LIFEPLUS Bold" panose="00000800000000000000" pitchFamily="2" charset="-127"/>
                <a:cs typeface="Arial" charset="0"/>
              </a:rPr>
              <a:t> 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FEPLUS Bold" panose="00000800000000000000" pitchFamily="2" charset="-127"/>
                <a:ea typeface="LIFEPLUS Bold" panose="00000800000000000000" pitchFamily="2" charset="-127"/>
                <a:cs typeface="Arial" charset="0"/>
              </a:rPr>
              <a:t>NEO</a:t>
            </a:r>
            <a:endParaRPr kumimoji="0" lang="ko-KR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IFEPLUS Bold" panose="00000800000000000000" pitchFamily="2" charset="-127"/>
              <a:ea typeface="LIFEPLUS Bold" panose="00000800000000000000" pitchFamily="2" charset="-127"/>
              <a:cs typeface="Arial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C05CCA12-C3FF-C817-0BF3-BA8ADAF518B9}"/>
              </a:ext>
            </a:extLst>
          </p:cNvPr>
          <p:cNvSpPr/>
          <p:nvPr/>
        </p:nvSpPr>
        <p:spPr bwMode="auto">
          <a:xfrm>
            <a:off x="315778" y="2001789"/>
            <a:ext cx="770074" cy="172491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FEPLUS Bold" panose="00000800000000000000" pitchFamily="2" charset="-127"/>
                <a:ea typeface="LIFEPLUS Bold" panose="00000800000000000000" pitchFamily="2" charset="-127"/>
                <a:cs typeface="Arial" charset="0"/>
              </a:rPr>
              <a:t>심볼</a:t>
            </a: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189081CB-69AD-569F-1BFD-1B026B3C7941}"/>
              </a:ext>
            </a:extLst>
          </p:cNvPr>
          <p:cNvSpPr/>
          <p:nvPr/>
        </p:nvSpPr>
        <p:spPr bwMode="auto">
          <a:xfrm>
            <a:off x="315778" y="4143876"/>
            <a:ext cx="770074" cy="772048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FEPLUS Bold" panose="00000800000000000000" pitchFamily="2" charset="-127"/>
                <a:ea typeface="LIFEPLUS Bold" panose="00000800000000000000" pitchFamily="2" charset="-127"/>
                <a:cs typeface="Arial" charset="0"/>
              </a:rPr>
              <a:t>레터링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IFEPLUS Bold" panose="00000800000000000000" pitchFamily="2" charset="-127"/>
              <a:ea typeface="LIFEPLUS Bold" panose="00000800000000000000" pitchFamily="2" charset="-127"/>
              <a:cs typeface="Arial" charset="0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137E4925-7290-B864-AE8E-E75DB6EF6541}"/>
              </a:ext>
            </a:extLst>
          </p:cNvPr>
          <p:cNvSpPr/>
          <p:nvPr/>
        </p:nvSpPr>
        <p:spPr bwMode="auto">
          <a:xfrm>
            <a:off x="315778" y="5218518"/>
            <a:ext cx="770073" cy="772048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FEPLUS Bold" panose="00000800000000000000" pitchFamily="2" charset="-127"/>
                <a:ea typeface="LIFEPLUS Bold" panose="00000800000000000000" pitchFamily="2" charset="-127"/>
                <a:cs typeface="Arial" charset="0"/>
              </a:rPr>
              <a:t>컨셉</a:t>
            </a:r>
          </a:p>
        </p:txBody>
      </p:sp>
      <p:grpSp>
        <p:nvGrpSpPr>
          <p:cNvPr id="21" name="그룹 20">
            <a:extLst>
              <a:ext uri="{FF2B5EF4-FFF2-40B4-BE49-F238E27FC236}">
                <a16:creationId xmlns:a16="http://schemas.microsoft.com/office/drawing/2014/main" id="{613B115D-8DAF-C99E-32A0-CA9269A26D06}"/>
              </a:ext>
            </a:extLst>
          </p:cNvPr>
          <p:cNvGrpSpPr/>
          <p:nvPr/>
        </p:nvGrpSpPr>
        <p:grpSpPr>
          <a:xfrm>
            <a:off x="2229237" y="2001789"/>
            <a:ext cx="3381122" cy="1646502"/>
            <a:chOff x="1652776" y="1962887"/>
            <a:chExt cx="3281073" cy="1597780"/>
          </a:xfrm>
        </p:grpSpPr>
        <p:pic>
          <p:nvPicPr>
            <p:cNvPr id="6" name="그림 5" descr="텍스트, 로고, 폰트, 스크린샷이(가) 표시된 사진&#10;&#10;자동 생성된 설명">
              <a:extLst>
                <a:ext uri="{FF2B5EF4-FFF2-40B4-BE49-F238E27FC236}">
                  <a16:creationId xmlns:a16="http://schemas.microsoft.com/office/drawing/2014/main" id="{8B513959-DB64-D6E0-914F-0DC555DE39E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8171" t="11737" r="65718" b="58775"/>
            <a:stretch/>
          </p:blipFill>
          <p:spPr>
            <a:xfrm>
              <a:off x="1652776" y="1962887"/>
              <a:ext cx="1552151" cy="1597780"/>
            </a:xfrm>
            <a:prstGeom prst="rect">
              <a:avLst/>
            </a:prstGeom>
          </p:spPr>
        </p:pic>
        <p:pic>
          <p:nvPicPr>
            <p:cNvPr id="7" name="그림 6" descr="텍스트, 로고, 폰트, 스크린샷이(가) 표시된 사진&#10;&#10;자동 생성된 설명">
              <a:extLst>
                <a:ext uri="{FF2B5EF4-FFF2-40B4-BE49-F238E27FC236}">
                  <a16:creationId xmlns:a16="http://schemas.microsoft.com/office/drawing/2014/main" id="{78DCC94D-C23A-A4ED-7555-1D66F6F8BD2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6028" t="11737" r="47861" b="58775"/>
            <a:stretch/>
          </p:blipFill>
          <p:spPr>
            <a:xfrm>
              <a:off x="3381698" y="1962887"/>
              <a:ext cx="1552151" cy="159778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200298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>
                <a:latin typeface="LIFEPLUS Light" panose="00000300000000000000" pitchFamily="2" charset="-127"/>
                <a:ea typeface="LIFEPLUS Light" panose="00000300000000000000" pitchFamily="2" charset="-127"/>
              </a:rPr>
              <a:t>대회 개요</a:t>
            </a:r>
            <a:endParaRPr lang="ko-KR" altLang="en-US"/>
          </a:p>
        </p:txBody>
      </p:sp>
      <p:graphicFrame>
        <p:nvGraphicFramePr>
          <p:cNvPr id="4" name="표 13">
            <a:extLst>
              <a:ext uri="{FF2B5EF4-FFF2-40B4-BE49-F238E27FC236}">
                <a16:creationId xmlns:a16="http://schemas.microsoft.com/office/drawing/2014/main" id="{3CA54E52-3CC0-2E0D-250F-DECA1488E9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7155430"/>
              </p:ext>
            </p:extLst>
          </p:nvPr>
        </p:nvGraphicFramePr>
        <p:xfrm>
          <a:off x="334963" y="1125536"/>
          <a:ext cx="11526536" cy="534030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58536">
                  <a:extLst>
                    <a:ext uri="{9D8B030D-6E8A-4147-A177-3AD203B41FA5}">
                      <a16:colId xmlns:a16="http://schemas.microsoft.com/office/drawing/2014/main" val="2858736142"/>
                    </a:ext>
                  </a:extLst>
                </a:gridCol>
                <a:gridCol w="6696000">
                  <a:extLst>
                    <a:ext uri="{9D8B030D-6E8A-4147-A177-3AD203B41FA5}">
                      <a16:colId xmlns:a16="http://schemas.microsoft.com/office/drawing/2014/main" val="2760395765"/>
                    </a:ext>
                  </a:extLst>
                </a:gridCol>
                <a:gridCol w="2772000">
                  <a:extLst>
                    <a:ext uri="{9D8B030D-6E8A-4147-A177-3AD203B41FA5}">
                      <a16:colId xmlns:a16="http://schemas.microsoft.com/office/drawing/2014/main" val="167458753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ko-KR" altLang="en-US" sz="1200" b="1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구분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ko-KR" altLang="en-US" sz="1200" b="1" kern="120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내용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ko-KR" altLang="en-US" sz="1200" b="1" kern="120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비고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0742898"/>
                  </a:ext>
                </a:extLst>
              </a:tr>
              <a:tr h="32076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ko-KR" altLang="en-US" sz="1000" b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대회명</a:t>
                      </a:r>
                      <a:endParaRPr lang="ko-KR" altLang="en-US" sz="1000" b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한화 </a:t>
                      </a:r>
                      <a:r>
                        <a:rPr lang="ko-KR" altLang="en-US" sz="1000" b="0" kern="120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파이낸스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컵 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2024</a:t>
                      </a:r>
                      <a:endParaRPr lang="ko-KR" altLang="en-US" sz="10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ko-KR" altLang="en-US" sz="10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727040"/>
                  </a:ext>
                </a:extLst>
              </a:tr>
              <a:tr h="32076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일정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altLang="ko-KR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2024.</a:t>
                      </a: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 </a:t>
                      </a:r>
                      <a:r>
                        <a:rPr lang="en-US" altLang="ko-KR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08.</a:t>
                      </a: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 </a:t>
                      </a:r>
                      <a:r>
                        <a:rPr lang="en-US" altLang="ko-KR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27(</a:t>
                      </a: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화</a:t>
                      </a:r>
                      <a:r>
                        <a:rPr lang="en-US" altLang="ko-KR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)</a:t>
                      </a:r>
                      <a:endParaRPr lang="en-US" altLang="ko-KR" sz="1000" b="0" dirty="0">
                        <a:ln>
                          <a:noFill/>
                        </a:ln>
                        <a:solidFill>
                          <a:srgbClr val="C00000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altLang="ko-KR" sz="1000" b="0">
                        <a:ln>
                          <a:noFill/>
                        </a:ln>
                        <a:solidFill>
                          <a:srgbClr val="C00000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6827399"/>
                  </a:ext>
                </a:extLst>
              </a:tr>
              <a:tr h="32076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ko-KR" altLang="en-US" sz="1000" b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장소</a:t>
                      </a:r>
                      <a:endParaRPr lang="en-US" altLang="ko-KR" sz="1000" b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ko-KR" altLang="en-US" sz="1000" b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제이드팰리스</a:t>
                      </a: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 </a:t>
                      </a:r>
                      <a:r>
                        <a:rPr lang="en-US" altLang="ko-KR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G</a:t>
                      </a: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C</a:t>
                      </a:r>
                      <a:endParaRPr lang="en-US" altLang="ko-KR" sz="1000" b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altLang="ko-KR" sz="1000" b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0399893"/>
                  </a:ext>
                </a:extLst>
              </a:tr>
              <a:tr h="601425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ko-KR" altLang="en-US" sz="1000" b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초청 인원</a:t>
                      </a:r>
                      <a:endParaRPr lang="en-US" altLang="ko-KR" sz="1000" b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16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팀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(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총 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64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명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)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국내 금융권 주요 회사 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(IB, GP, LP 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등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)</a:t>
                      </a:r>
                    </a:p>
                    <a:p>
                      <a:pPr marL="0" marR="0" lvl="0" indent="0" algn="l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60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년대 후반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~89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년생 남성 골퍼</a:t>
                      </a:r>
                      <a:endParaRPr lang="en-US" altLang="ko-KR" sz="10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411649"/>
                  </a:ext>
                </a:extLst>
              </a:tr>
              <a:tr h="26484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코스</a:t>
                      </a:r>
                      <a:endParaRPr lang="en-US" altLang="ko-KR" sz="1000" b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서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(West),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동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(East) 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코스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/ 18Hole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650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Par 72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3620956"/>
                  </a:ext>
                </a:extLst>
              </a:tr>
              <a:tr h="72171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ko-KR" altLang="en-US" sz="1000" b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경기 방식</a:t>
                      </a:r>
                      <a:endParaRPr lang="en-US" altLang="ko-KR" sz="1000" b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팀 매치플레이</a:t>
                      </a:r>
                      <a:endParaRPr lang="en-US" altLang="ko-KR" sz="10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  <a:p>
                      <a:pPr marL="0" marR="0" lvl="0" indent="0" algn="l" defTabSz="1218650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- Team CLASSIC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32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명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, Team NEO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32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명</a:t>
                      </a:r>
                      <a:endParaRPr lang="en-US" altLang="ko-KR" sz="10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  <a:p>
                      <a:pPr marL="0" marR="0" lvl="0" indent="0" algn="l" defTabSz="1218650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- 1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조 당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TC 2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명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, TN 2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명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, 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총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4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명 구성</a:t>
                      </a:r>
                      <a:endParaRPr lang="en-US" altLang="ko-KR" sz="1000" b="0" kern="1200" dirty="0">
                        <a:ln>
                          <a:noFill/>
                        </a:ln>
                        <a:solidFill>
                          <a:srgbClr val="C00000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altLang="ko-KR" sz="10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3433275"/>
                  </a:ext>
                </a:extLst>
              </a:tr>
              <a:tr h="32076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ko-KR" altLang="en-US" sz="1000" b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출발 방식</a:t>
                      </a:r>
                      <a:endParaRPr lang="en-US" altLang="ko-KR" sz="1000" b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18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홀 </a:t>
                      </a:r>
                      <a:r>
                        <a:rPr lang="ko-KR" altLang="en-US" sz="1000" b="0" kern="120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전홀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</a:t>
                      </a:r>
                      <a:r>
                        <a:rPr lang="ko-KR" altLang="en-US" sz="1000" b="0" kern="120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샷건</a:t>
                      </a:r>
                      <a:endParaRPr lang="en-US" altLang="ko-KR" sz="10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650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화이트 티</a:t>
                      </a:r>
                      <a:endParaRPr lang="en-US" altLang="ko-KR" sz="10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795505"/>
                  </a:ext>
                </a:extLst>
              </a:tr>
              <a:tr h="601425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ko-KR" altLang="en-US" sz="1000" b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성적 집계</a:t>
                      </a:r>
                      <a:endParaRPr lang="en-US" altLang="ko-KR" sz="1000" b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팀 스코어 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- 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팀별 베스트 스코어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(UP, DOWN, EVEN/ 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최종 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UP 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합산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, 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승리 팀 합계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)</a:t>
                      </a:r>
                    </a:p>
                    <a:p>
                      <a:pPr marL="0" marR="0" lvl="0" indent="0" algn="l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회사 스코어 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- </a:t>
                      </a:r>
                      <a:r>
                        <a:rPr lang="ko-KR" altLang="en-US" sz="1000" b="0" kern="120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그로스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스코어 합산</a:t>
                      </a:r>
                      <a:endParaRPr lang="en-US" altLang="ko-KR" sz="10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650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kern="1200">
                        <a:ln>
                          <a:noFill/>
                        </a:ln>
                        <a:solidFill>
                          <a:srgbClr val="C00000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8858935"/>
                  </a:ext>
                </a:extLst>
              </a:tr>
              <a:tr h="32076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altLang="ko-KR" sz="1000" b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Tee-off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11:00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650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kern="1200">
                        <a:ln>
                          <a:noFill/>
                        </a:ln>
                        <a:solidFill>
                          <a:srgbClr val="C00000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5336317"/>
                  </a:ext>
                </a:extLst>
              </a:tr>
              <a:tr h="32076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ko-KR" altLang="en-US" sz="1000" b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프로그램</a:t>
                      </a:r>
                      <a:endParaRPr lang="en-US" altLang="ko-KR" sz="1000" b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영접 </a:t>
                      </a:r>
                      <a:r>
                        <a:rPr lang="en-US" altLang="ko-KR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&gt; </a:t>
                      </a: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조찬 </a:t>
                      </a:r>
                      <a:r>
                        <a:rPr lang="en-US" altLang="ko-KR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&amp; </a:t>
                      </a: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개회식</a:t>
                      </a:r>
                      <a:r>
                        <a:rPr lang="en-US" altLang="ko-KR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(</a:t>
                      </a: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대회 설명회</a:t>
                      </a:r>
                      <a:r>
                        <a:rPr lang="en-US" altLang="ko-KR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, </a:t>
                      </a: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팀 </a:t>
                      </a:r>
                      <a:r>
                        <a:rPr lang="en-US" altLang="ko-KR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&amp; </a:t>
                      </a: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캡틴 소개</a:t>
                      </a:r>
                      <a:r>
                        <a:rPr lang="en-US" altLang="ko-KR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, </a:t>
                      </a: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조 추첨</a:t>
                      </a:r>
                      <a:r>
                        <a:rPr lang="en-US" altLang="ko-KR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)&gt; </a:t>
                      </a: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단체 사진 촬영</a:t>
                      </a:r>
                      <a:r>
                        <a:rPr lang="en-US" altLang="ko-KR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 &amp; </a:t>
                      </a: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각 홀 이동 </a:t>
                      </a:r>
                      <a:r>
                        <a:rPr lang="en-US" altLang="ko-KR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&gt; </a:t>
                      </a: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라운드 </a:t>
                      </a:r>
                      <a:r>
                        <a:rPr lang="en-US" altLang="ko-KR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&gt; </a:t>
                      </a: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홀 아웃 및 </a:t>
                      </a:r>
                      <a:r>
                        <a:rPr lang="ko-KR" altLang="en-US" sz="1000" b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환복</a:t>
                      </a: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 </a:t>
                      </a:r>
                      <a:r>
                        <a:rPr lang="en-US" altLang="ko-KR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/>
                      </a:r>
                      <a:br>
                        <a:rPr lang="en-US" altLang="ko-KR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</a:br>
                      <a:r>
                        <a:rPr lang="en-US" altLang="ko-KR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&gt; </a:t>
                      </a: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애프터 파티 및 시상식 </a:t>
                      </a:r>
                      <a:r>
                        <a:rPr lang="en-US" altLang="ko-KR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&gt; </a:t>
                      </a: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대회 종료 및 귀가</a:t>
                      </a:r>
                      <a:endParaRPr lang="en-US" altLang="ko-KR" sz="1000" b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altLang="ko-KR" sz="1000" b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1368868"/>
                  </a:ext>
                </a:extLst>
              </a:tr>
              <a:tr h="80190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시상 내역</a:t>
                      </a:r>
                      <a:endParaRPr lang="en-US" altLang="ko-KR" sz="1000" b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대회 시상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  <a:p>
                      <a:pPr algn="l" fontAlgn="ctr"/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: 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팀 시상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- 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트로피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/ TBD</a:t>
                      </a:r>
                    </a:p>
                    <a:p>
                      <a:pPr algn="l" fontAlgn="ctr"/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: 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회사 시상 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- TBD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  <a:p>
                      <a:pPr marL="0" marR="0" lvl="0" indent="0" algn="l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: 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홀인원 시상 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- TBD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 algn="l" defTabSz="557195" rtl="0" eaLnBrk="1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buFontTx/>
                        <a:buChar char="-"/>
                      </a:pPr>
                      <a:endParaRPr lang="en-US" altLang="ko-KR" sz="10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45720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700623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>
                <a:latin typeface="LIFEPLUS Light" panose="00000300000000000000" pitchFamily="2" charset="-127"/>
                <a:ea typeface="LIFEPLUS Light" panose="00000300000000000000" pitchFamily="2" charset="-127"/>
              </a:rPr>
              <a:t>대회 장소</a:t>
            </a:r>
            <a:endParaRPr lang="ko-KR" alt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3927A4C-25C7-9E6F-17DD-5E1FFB6C50F0}"/>
              </a:ext>
            </a:extLst>
          </p:cNvPr>
          <p:cNvSpPr txBox="1"/>
          <p:nvPr/>
        </p:nvSpPr>
        <p:spPr>
          <a:xfrm>
            <a:off x="334963" y="1148342"/>
            <a:ext cx="3995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atinLnBrk="1">
              <a:lnSpc>
                <a:spcPct val="100000"/>
              </a:lnSpc>
              <a:spcBef>
                <a:spcPts val="300"/>
              </a:spcBef>
            </a:pPr>
            <a:r>
              <a:rPr lang="ko-KR" altLang="en-US" sz="1800" b="1" dirty="0" err="1">
                <a:ln>
                  <a:noFill/>
                </a:ln>
                <a:solidFill>
                  <a:schemeClr val="tx1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제이드팰리스</a:t>
            </a:r>
            <a:r>
              <a:rPr lang="ko-KR" altLang="en-US" sz="1800" b="1" dirty="0">
                <a:ln>
                  <a:noFill/>
                </a:ln>
                <a:solidFill>
                  <a:schemeClr val="tx1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 </a:t>
            </a:r>
            <a:r>
              <a:rPr lang="en-US" altLang="ko-KR" sz="1800" b="1" dirty="0">
                <a:ln>
                  <a:noFill/>
                </a:ln>
                <a:solidFill>
                  <a:schemeClr val="tx1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G</a:t>
            </a:r>
            <a:r>
              <a:rPr lang="ko-KR" altLang="en-US" sz="1800" b="1" dirty="0">
                <a:ln>
                  <a:noFill/>
                </a:ln>
                <a:solidFill>
                  <a:schemeClr val="tx1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C</a:t>
            </a:r>
            <a:endParaRPr lang="en-US" altLang="ko-KR" sz="1800" b="1" dirty="0">
              <a:ln>
                <a:noFill/>
              </a:ln>
              <a:solidFill>
                <a:schemeClr val="tx1"/>
              </a:solidFill>
              <a:latin typeface="LIFEPLUS Light" panose="00000300000000000000" pitchFamily="2" charset="-127"/>
              <a:ea typeface="LIFEPLUS Light" panose="00000300000000000000" pitchFamily="2" charset="-12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D053F3C-2866-D9D2-297D-3FD4BA1ABA5C}"/>
              </a:ext>
            </a:extLst>
          </p:cNvPr>
          <p:cNvSpPr txBox="1"/>
          <p:nvPr/>
        </p:nvSpPr>
        <p:spPr>
          <a:xfrm>
            <a:off x="360850" y="1687861"/>
            <a:ext cx="4285578" cy="6309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atinLnBrk="1">
              <a:lnSpc>
                <a:spcPct val="100000"/>
              </a:lnSpc>
              <a:spcBef>
                <a:spcPts val="300"/>
              </a:spcBef>
            </a:pPr>
            <a:r>
              <a:rPr lang="ko-KR" altLang="en-US" sz="1000" dirty="0">
                <a:latin typeface="LIFEPLUS Light" panose="00000300000000000000" pitchFamily="2" charset="-127"/>
                <a:ea typeface="LIFEPLUS Light" panose="00000300000000000000" pitchFamily="2" charset="-127"/>
              </a:rPr>
              <a:t>강원 춘천에 위치한 소수 정예 멤버십으로 운영되는 명문 골프클럽</a:t>
            </a:r>
            <a:endParaRPr lang="en-US" altLang="ko-KR" sz="1000" dirty="0">
              <a:latin typeface="LIFEPLUS Light" panose="00000300000000000000" pitchFamily="2" charset="-127"/>
              <a:ea typeface="LIFEPLUS Light" panose="00000300000000000000" pitchFamily="2" charset="-127"/>
            </a:endParaRPr>
          </a:p>
          <a:p>
            <a:pPr latinLnBrk="1">
              <a:lnSpc>
                <a:spcPct val="100000"/>
              </a:lnSpc>
              <a:spcBef>
                <a:spcPts val="300"/>
              </a:spcBef>
            </a:pPr>
            <a:r>
              <a:rPr lang="ko-KR" altLang="en-US" sz="1000" b="0" dirty="0">
                <a:ln>
                  <a:noFill/>
                </a:ln>
                <a:solidFill>
                  <a:schemeClr val="tx1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세계적인 골퍼 </a:t>
            </a:r>
            <a:r>
              <a:rPr lang="ko-KR" altLang="en-US" sz="1000" b="0" dirty="0" err="1">
                <a:ln>
                  <a:noFill/>
                </a:ln>
                <a:solidFill>
                  <a:schemeClr val="tx1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그렉</a:t>
            </a:r>
            <a:r>
              <a:rPr lang="ko-KR" altLang="en-US" sz="1000" b="0" dirty="0">
                <a:ln>
                  <a:noFill/>
                </a:ln>
                <a:solidFill>
                  <a:schemeClr val="tx1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 노먼이 설계한 골프 코스</a:t>
            </a:r>
            <a:endParaRPr lang="en-US" altLang="ko-KR" sz="1000" b="0" dirty="0">
              <a:ln>
                <a:noFill/>
              </a:ln>
              <a:solidFill>
                <a:schemeClr val="tx1"/>
              </a:solidFill>
              <a:latin typeface="LIFEPLUS Light" panose="00000300000000000000" pitchFamily="2" charset="-127"/>
              <a:ea typeface="LIFEPLUS Light" panose="00000300000000000000" pitchFamily="2" charset="-127"/>
            </a:endParaRPr>
          </a:p>
          <a:p>
            <a:pPr latinLnBrk="1">
              <a:lnSpc>
                <a:spcPct val="100000"/>
              </a:lnSpc>
              <a:spcBef>
                <a:spcPts val="300"/>
              </a:spcBef>
            </a:pPr>
            <a:r>
              <a:rPr lang="en-US" altLang="ko-KR" sz="1000" dirty="0">
                <a:latin typeface="LIFEPLUS Light" panose="00000300000000000000" pitchFamily="2" charset="-127"/>
                <a:ea typeface="LIFEPLUS Light" panose="00000300000000000000" pitchFamily="2" charset="-127"/>
              </a:rPr>
              <a:t>KLPGA </a:t>
            </a:r>
            <a:r>
              <a:rPr lang="ko-KR" altLang="en-US" sz="1000" dirty="0">
                <a:latin typeface="LIFEPLUS Light" panose="00000300000000000000" pitchFamily="2" charset="-127"/>
                <a:ea typeface="LIFEPLUS Light" panose="00000300000000000000" pitchFamily="2" charset="-127"/>
              </a:rPr>
              <a:t>투어 최대 상금 대회 </a:t>
            </a:r>
            <a:r>
              <a:rPr lang="en-US" altLang="ko-KR" sz="1000" dirty="0">
                <a:latin typeface="LIFEPLUS Light" panose="00000300000000000000" pitchFamily="2" charset="-127"/>
                <a:ea typeface="LIFEPLUS Light" panose="00000300000000000000" pitchFamily="2" charset="-127"/>
              </a:rPr>
              <a:t>‘</a:t>
            </a:r>
            <a:r>
              <a:rPr lang="ko-KR" altLang="en-US" sz="1000" dirty="0">
                <a:latin typeface="LIFEPLUS Light" panose="00000300000000000000" pitchFamily="2" charset="-127"/>
                <a:ea typeface="LIFEPLUS Light" panose="00000300000000000000" pitchFamily="2" charset="-127"/>
              </a:rPr>
              <a:t>한화 클래식</a:t>
            </a:r>
            <a:r>
              <a:rPr lang="en-US" altLang="ko-KR" sz="1000" dirty="0">
                <a:latin typeface="LIFEPLUS Light" panose="00000300000000000000" pitchFamily="2" charset="-127"/>
                <a:ea typeface="LIFEPLUS Light" panose="00000300000000000000" pitchFamily="2" charset="-127"/>
              </a:rPr>
              <a:t>’ </a:t>
            </a:r>
            <a:r>
              <a:rPr lang="ko-KR" altLang="en-US" sz="1000" dirty="0">
                <a:latin typeface="LIFEPLUS Light" panose="00000300000000000000" pitchFamily="2" charset="-127"/>
                <a:ea typeface="LIFEPLUS Light" panose="00000300000000000000" pitchFamily="2" charset="-127"/>
              </a:rPr>
              <a:t>개최</a:t>
            </a:r>
            <a:endParaRPr lang="en-US" altLang="ko-KR" sz="1000" b="0" dirty="0">
              <a:ln>
                <a:noFill/>
              </a:ln>
              <a:solidFill>
                <a:schemeClr val="tx1"/>
              </a:solidFill>
              <a:latin typeface="LIFEPLUS Light" panose="00000300000000000000" pitchFamily="2" charset="-127"/>
              <a:ea typeface="LIFEPLUS Light" panose="00000300000000000000" pitchFamily="2" charset="-127"/>
            </a:endParaRPr>
          </a:p>
        </p:txBody>
      </p:sp>
      <p:pic>
        <p:nvPicPr>
          <p:cNvPr id="3" name="Picture 4" descr="임시1">
            <a:extLst>
              <a:ext uri="{FF2B5EF4-FFF2-40B4-BE49-F238E27FC236}">
                <a16:creationId xmlns:a16="http://schemas.microsoft.com/office/drawing/2014/main" id="{869D6A18-23D8-40B9-3AE4-88A678811A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4825" y="1043172"/>
            <a:ext cx="4636803" cy="29808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DE6D7B6-41E8-C1D6-695D-D212E74A197A}"/>
              </a:ext>
            </a:extLst>
          </p:cNvPr>
          <p:cNvSpPr txBox="1"/>
          <p:nvPr/>
        </p:nvSpPr>
        <p:spPr>
          <a:xfrm>
            <a:off x="360850" y="3234483"/>
            <a:ext cx="4285578" cy="8540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ko-KR" altLang="en-US" sz="1200" b="1" dirty="0">
                <a:ln>
                  <a:noFill/>
                </a:ln>
                <a:latin typeface="LIFEPLUS Light" panose="00000300000000000000" pitchFamily="2" charset="-127"/>
                <a:ea typeface="LIFEPLUS Light" panose="00000300000000000000" pitchFamily="2" charset="-127"/>
              </a:rPr>
              <a:t>코스 정보</a:t>
            </a:r>
            <a:endParaRPr lang="en-US" altLang="ko-KR" sz="1200" b="1" dirty="0">
              <a:ln>
                <a:noFill/>
              </a:ln>
              <a:latin typeface="LIFEPLUS Light" panose="00000300000000000000" pitchFamily="2" charset="-127"/>
              <a:ea typeface="LIFEPLUS Light" panose="00000300000000000000" pitchFamily="2" charset="-127"/>
            </a:endParaRPr>
          </a:p>
          <a:p>
            <a:pPr>
              <a:spcBef>
                <a:spcPts val="300"/>
              </a:spcBef>
            </a:pPr>
            <a:r>
              <a:rPr lang="en-US" altLang="ko-KR" sz="1000" b="0" dirty="0">
                <a:ln>
                  <a:noFill/>
                </a:ln>
                <a:latin typeface="LIFEPLUS Light" panose="00000300000000000000" pitchFamily="2" charset="-127"/>
                <a:ea typeface="LIFEPLUS Light" panose="00000300000000000000" pitchFamily="2" charset="-127"/>
              </a:rPr>
              <a:t>18Hole, </a:t>
            </a:r>
            <a:r>
              <a:rPr lang="en-US" altLang="ko-KR" sz="1000" b="0" kern="1200" dirty="0">
                <a:ln>
                  <a:noFill/>
                </a:ln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Par 72</a:t>
            </a:r>
          </a:p>
          <a:p>
            <a:pPr>
              <a:spcBef>
                <a:spcPts val="300"/>
              </a:spcBef>
            </a:pPr>
            <a:r>
              <a:rPr lang="en-US" altLang="ko-KR" sz="1000" b="0" kern="1200" dirty="0">
                <a:ln>
                  <a:noFill/>
                </a:ln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Out : </a:t>
            </a:r>
            <a:r>
              <a:rPr lang="ko-KR" altLang="en-US" sz="1000" b="0" kern="1200" dirty="0">
                <a:ln>
                  <a:noFill/>
                </a:ln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서</a:t>
            </a:r>
            <a:r>
              <a:rPr lang="en-US" altLang="ko-KR" sz="1000" b="0" kern="1200" dirty="0">
                <a:ln>
                  <a:noFill/>
                </a:ln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(West) </a:t>
            </a:r>
            <a:r>
              <a:rPr lang="ko-KR" altLang="en-US" sz="1000" b="0" kern="1200" dirty="0">
                <a:ln>
                  <a:noFill/>
                </a:ln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코스</a:t>
            </a:r>
            <a:r>
              <a:rPr lang="en-US" altLang="ko-KR" sz="1000" b="0" kern="1200" dirty="0">
                <a:ln>
                  <a:noFill/>
                </a:ln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, , In :</a:t>
            </a:r>
            <a:r>
              <a:rPr lang="ko-KR" altLang="en-US" sz="1000" b="0" kern="1200" dirty="0">
                <a:ln>
                  <a:noFill/>
                </a:ln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 동</a:t>
            </a:r>
            <a:r>
              <a:rPr lang="en-US" altLang="ko-KR" sz="1000" b="0" kern="1200" dirty="0">
                <a:ln>
                  <a:noFill/>
                </a:ln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(East) </a:t>
            </a:r>
            <a:r>
              <a:rPr lang="ko-KR" altLang="en-US" sz="1000" b="0" kern="1200" dirty="0">
                <a:ln>
                  <a:noFill/>
                </a:ln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코스</a:t>
            </a:r>
            <a:endParaRPr lang="en-US" altLang="ko-KR" sz="1000" b="0" kern="1200" dirty="0">
              <a:ln>
                <a:noFill/>
              </a:ln>
              <a:latin typeface="LIFEPLUS Light" panose="00000300000000000000" pitchFamily="2" charset="-127"/>
              <a:ea typeface="LIFEPLUS Light" panose="00000300000000000000" pitchFamily="2" charset="-127"/>
              <a:cs typeface="+mn-cs"/>
            </a:endParaRPr>
          </a:p>
          <a:p>
            <a:pPr>
              <a:spcBef>
                <a:spcPts val="300"/>
              </a:spcBef>
            </a:pPr>
            <a:r>
              <a:rPr lang="en-US" altLang="ko-KR" sz="1000" b="0" kern="1200" dirty="0">
                <a:ln>
                  <a:noFill/>
                </a:ln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(</a:t>
            </a:r>
            <a:r>
              <a:rPr lang="ko-KR" altLang="en-US" sz="1000" b="0" kern="1200" dirty="0">
                <a:ln>
                  <a:noFill/>
                </a:ln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남</a:t>
            </a:r>
            <a:r>
              <a:rPr lang="en-US" altLang="ko-KR" sz="1000" b="0" kern="1200" dirty="0">
                <a:ln>
                  <a:noFill/>
                </a:ln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)</a:t>
            </a:r>
            <a:r>
              <a:rPr lang="ko-KR" altLang="en-US" sz="1000" b="0" kern="1200" dirty="0">
                <a:ln>
                  <a:noFill/>
                </a:ln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참가 고객 </a:t>
            </a:r>
            <a:r>
              <a:rPr lang="en-US" altLang="ko-KR" sz="1000" b="0" kern="1200" dirty="0">
                <a:ln>
                  <a:noFill/>
                </a:ln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: White Tee</a:t>
            </a:r>
          </a:p>
        </p:txBody>
      </p:sp>
      <p:graphicFrame>
        <p:nvGraphicFramePr>
          <p:cNvPr id="7" name="object 82">
            <a:extLst>
              <a:ext uri="{FF2B5EF4-FFF2-40B4-BE49-F238E27FC236}">
                <a16:creationId xmlns:a16="http://schemas.microsoft.com/office/drawing/2014/main" id="{53427C8A-31C1-F33F-4EE6-03A3B66D64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719664"/>
              </p:ext>
            </p:extLst>
          </p:nvPr>
        </p:nvGraphicFramePr>
        <p:xfrm>
          <a:off x="334964" y="4153150"/>
          <a:ext cx="11522073" cy="2160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891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543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543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5436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5436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5436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5436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5436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5436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5436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55436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554363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554363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554363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554363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554363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554363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554363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554363">
                  <a:extLst>
                    <a:ext uri="{9D8B030D-6E8A-4147-A177-3AD203B41FA5}">
                      <a16:colId xmlns:a16="http://schemas.microsoft.com/office/drawing/2014/main" val="266037297"/>
                    </a:ext>
                  </a:extLst>
                </a:gridCol>
                <a:gridCol w="554363">
                  <a:extLst>
                    <a:ext uri="{9D8B030D-6E8A-4147-A177-3AD203B41FA5}">
                      <a16:colId xmlns:a16="http://schemas.microsoft.com/office/drawing/2014/main" val="1580701544"/>
                    </a:ext>
                  </a:extLst>
                </a:gridCol>
              </a:tblGrid>
              <a:tr h="360000"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Times New Roman"/>
                        </a:rPr>
                        <a:t>HOLE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gridSpan="9"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altLang="ko-KR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West</a:t>
                      </a: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 Course(Out)</a:t>
                      </a: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gridSpan="9"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East Course(In)</a:t>
                      </a: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212725" algn="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50">
                        <a:solidFill>
                          <a:schemeClr val="bg1"/>
                        </a:solidFill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합계</a:t>
                      </a:r>
                      <a:endParaRPr lang="en-US" altLang="ko-KR"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183998"/>
                  </a:ext>
                </a:extLst>
              </a:tr>
              <a:tr h="360000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2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6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7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8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9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0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1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2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marR="212725" algn="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3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4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5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6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7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8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sz="1000" spc="-5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Par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252729" algn="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00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b="1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72</a:t>
                      </a:r>
                      <a:endParaRPr sz="1000" b="1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spc="-5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MT</a:t>
                      </a:r>
                      <a:r>
                        <a:rPr sz="1000" spc="-5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S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1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YDS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225123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이벤트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기념 사진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기념사진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2736450"/>
                  </a:ext>
                </a:extLst>
              </a:tr>
            </a:tbl>
          </a:graphicData>
        </a:graphic>
      </p:graphicFrame>
      <p:sp>
        <p:nvSpPr>
          <p:cNvPr id="8" name="직사각형 7">
            <a:extLst>
              <a:ext uri="{FF2B5EF4-FFF2-40B4-BE49-F238E27FC236}">
                <a16:creationId xmlns:a16="http://schemas.microsoft.com/office/drawing/2014/main" id="{C12F48A1-EBC3-86A8-12C3-5ECE9502994F}"/>
              </a:ext>
            </a:extLst>
          </p:cNvPr>
          <p:cNvSpPr/>
          <p:nvPr/>
        </p:nvSpPr>
        <p:spPr bwMode="auto">
          <a:xfrm>
            <a:off x="9083675" y="268692"/>
            <a:ext cx="2773363" cy="856846"/>
          </a:xfrm>
          <a:prstGeom prst="rect">
            <a:avLst/>
          </a:prstGeom>
          <a:solidFill>
            <a:srgbClr val="FFFF00"/>
          </a:solidFill>
          <a:ln w="9525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1200" dirty="0">
                <a:latin typeface="LIFEPLUS Light" panose="00000300000000000000" pitchFamily="2" charset="-127"/>
                <a:ea typeface="LIFEPLUS Light" panose="00000300000000000000" pitchFamily="2" charset="-127"/>
                <a:cs typeface="Arial" charset="0"/>
              </a:rPr>
              <a:t>본 대회 전장 확인 필요</a:t>
            </a:r>
          </a:p>
        </p:txBody>
      </p:sp>
    </p:spTree>
    <p:extLst>
      <p:ext uri="{BB962C8B-B14F-4D97-AF65-F5344CB8AC3E}">
        <p14:creationId xmlns:p14="http://schemas.microsoft.com/office/powerpoint/2010/main" val="24805799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latin typeface="LIFEPLUS Light" panose="00000300000000000000" pitchFamily="2" charset="-127"/>
                <a:ea typeface="LIFEPLUS Light" panose="00000300000000000000" pitchFamily="2" charset="-127"/>
              </a:rPr>
              <a:t>조편성표</a:t>
            </a:r>
            <a:endParaRPr lang="ko-KR" altLang="en-US" dirty="0"/>
          </a:p>
        </p:txBody>
      </p:sp>
      <p:graphicFrame>
        <p:nvGraphicFramePr>
          <p:cNvPr id="6" name="표 5">
            <a:extLst>
              <a:ext uri="{FF2B5EF4-FFF2-40B4-BE49-F238E27FC236}">
                <a16:creationId xmlns:a16="http://schemas.microsoft.com/office/drawing/2014/main" id="{96BABA74-846E-55C9-919A-37479784ED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2557159"/>
              </p:ext>
            </p:extLst>
          </p:nvPr>
        </p:nvGraphicFramePr>
        <p:xfrm>
          <a:off x="6177063" y="1125538"/>
          <a:ext cx="5689601" cy="3456000"/>
        </p:xfrm>
        <a:graphic>
          <a:graphicData uri="http://schemas.openxmlformats.org/drawingml/2006/table">
            <a:tbl>
              <a:tblPr firstRow="1" bandRow="1"/>
              <a:tblGrid>
                <a:gridCol w="766691">
                  <a:extLst>
                    <a:ext uri="{9D8B030D-6E8A-4147-A177-3AD203B41FA5}">
                      <a16:colId xmlns:a16="http://schemas.microsoft.com/office/drawing/2014/main" val="3271001546"/>
                    </a:ext>
                  </a:extLst>
                </a:gridCol>
                <a:gridCol w="984582">
                  <a:extLst>
                    <a:ext uri="{9D8B030D-6E8A-4147-A177-3AD203B41FA5}">
                      <a16:colId xmlns:a16="http://schemas.microsoft.com/office/drawing/2014/main" val="2864468661"/>
                    </a:ext>
                  </a:extLst>
                </a:gridCol>
                <a:gridCol w="984582">
                  <a:extLst>
                    <a:ext uri="{9D8B030D-6E8A-4147-A177-3AD203B41FA5}">
                      <a16:colId xmlns:a16="http://schemas.microsoft.com/office/drawing/2014/main" val="1970284553"/>
                    </a:ext>
                  </a:extLst>
                </a:gridCol>
                <a:gridCol w="984582">
                  <a:extLst>
                    <a:ext uri="{9D8B030D-6E8A-4147-A177-3AD203B41FA5}">
                      <a16:colId xmlns:a16="http://schemas.microsoft.com/office/drawing/2014/main" val="3226806924"/>
                    </a:ext>
                  </a:extLst>
                </a:gridCol>
                <a:gridCol w="984582">
                  <a:extLst>
                    <a:ext uri="{9D8B030D-6E8A-4147-A177-3AD203B41FA5}">
                      <a16:colId xmlns:a16="http://schemas.microsoft.com/office/drawing/2014/main" val="1791754265"/>
                    </a:ext>
                  </a:extLst>
                </a:gridCol>
                <a:gridCol w="984582">
                  <a:extLst>
                    <a:ext uri="{9D8B030D-6E8A-4147-A177-3AD203B41FA5}">
                      <a16:colId xmlns:a16="http://schemas.microsoft.com/office/drawing/2014/main" val="3012833808"/>
                    </a:ext>
                  </a:extLst>
                </a:gridCol>
              </a:tblGrid>
              <a:tr h="288000">
                <a:tc gridSpan="6"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East Course(In)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32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99951356"/>
                  </a:ext>
                </a:extLst>
              </a:tr>
              <a:tr h="288000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출발 홀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32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조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Team CLASSIC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MBK CorpoS" panose="020B0503000000000000" pitchFamily="50" charset="-127"/>
                        <a:ea typeface="MBK CorpoS" panose="020B0503000000000000" pitchFamily="50" charset="-127"/>
                      </a:endParaRPr>
                    </a:p>
                  </a:txBody>
                  <a:tcPr marL="36000" marR="36000" marT="36000" marB="36000" anchor="ctr"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Team NEO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MBK CorpoS" panose="020B0503000000000000" pitchFamily="50" charset="-127"/>
                        <a:ea typeface="MBK CorpoS" panose="020B0503000000000000" pitchFamily="50" charset="-127"/>
                      </a:endParaRPr>
                    </a:p>
                  </a:txBody>
                  <a:tcPr marL="36000" marR="36000" marT="36000" marB="36000" anchor="ctr"/>
                </a:tc>
                <a:extLst>
                  <a:ext uri="{0D108BD9-81ED-4DB2-BD59-A6C34878D82A}">
                    <a16:rowId xmlns:a16="http://schemas.microsoft.com/office/drawing/2014/main" val="3032647495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MBK CorpoS" panose="020B0503000000000000" pitchFamily="50" charset="-127"/>
                        <a:ea typeface="MBK CorpoS" panose="020B0503000000000000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MBK CorpoS" panose="020B0503000000000000" pitchFamily="50" charset="-127"/>
                        <a:ea typeface="MBK CorpoS" panose="020B0503000000000000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성명</a:t>
                      </a:r>
                      <a:endParaRPr kumimoji="0" lang="en-US" altLang="ko-KR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32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MBK CorpoS" panose="020B0503000000000000" pitchFamily="50" charset="-127"/>
                        <a:ea typeface="MBK CorpoS" panose="020B0503000000000000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성명</a:t>
                      </a:r>
                      <a:endParaRPr kumimoji="0" lang="en-US" altLang="ko-KR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32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MBK CorpoS" panose="020B0503000000000000" pitchFamily="50" charset="-127"/>
                        <a:ea typeface="MBK CorpoS" panose="020B0503000000000000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0H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9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조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8900247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1H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0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조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128968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2H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1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조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6702305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3H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2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조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2882099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4H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3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조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3336776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5H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4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조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8141354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6H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5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조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6868439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7H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6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조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5131364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8H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-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0266331"/>
                  </a:ext>
                </a:extLst>
              </a:tr>
            </a:tbl>
          </a:graphicData>
        </a:graphic>
      </p:graphicFrame>
      <p:graphicFrame>
        <p:nvGraphicFramePr>
          <p:cNvPr id="7" name="표 6">
            <a:extLst>
              <a:ext uri="{FF2B5EF4-FFF2-40B4-BE49-F238E27FC236}">
                <a16:creationId xmlns:a16="http://schemas.microsoft.com/office/drawing/2014/main" id="{EA8C0A13-C329-2D94-3D88-1FA3D14C3A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0292980"/>
              </p:ext>
            </p:extLst>
          </p:nvPr>
        </p:nvGraphicFramePr>
        <p:xfrm>
          <a:off x="344588" y="1125538"/>
          <a:ext cx="5689601" cy="3456000"/>
        </p:xfrm>
        <a:graphic>
          <a:graphicData uri="http://schemas.openxmlformats.org/drawingml/2006/table">
            <a:tbl>
              <a:tblPr firstRow="1" bandRow="1"/>
              <a:tblGrid>
                <a:gridCol w="766691">
                  <a:extLst>
                    <a:ext uri="{9D8B030D-6E8A-4147-A177-3AD203B41FA5}">
                      <a16:colId xmlns:a16="http://schemas.microsoft.com/office/drawing/2014/main" val="3271001546"/>
                    </a:ext>
                  </a:extLst>
                </a:gridCol>
                <a:gridCol w="984582">
                  <a:extLst>
                    <a:ext uri="{9D8B030D-6E8A-4147-A177-3AD203B41FA5}">
                      <a16:colId xmlns:a16="http://schemas.microsoft.com/office/drawing/2014/main" val="2864468661"/>
                    </a:ext>
                  </a:extLst>
                </a:gridCol>
                <a:gridCol w="984582">
                  <a:extLst>
                    <a:ext uri="{9D8B030D-6E8A-4147-A177-3AD203B41FA5}">
                      <a16:colId xmlns:a16="http://schemas.microsoft.com/office/drawing/2014/main" val="1970284553"/>
                    </a:ext>
                  </a:extLst>
                </a:gridCol>
                <a:gridCol w="984582">
                  <a:extLst>
                    <a:ext uri="{9D8B030D-6E8A-4147-A177-3AD203B41FA5}">
                      <a16:colId xmlns:a16="http://schemas.microsoft.com/office/drawing/2014/main" val="3226806924"/>
                    </a:ext>
                  </a:extLst>
                </a:gridCol>
                <a:gridCol w="984582">
                  <a:extLst>
                    <a:ext uri="{9D8B030D-6E8A-4147-A177-3AD203B41FA5}">
                      <a16:colId xmlns:a16="http://schemas.microsoft.com/office/drawing/2014/main" val="1791754265"/>
                    </a:ext>
                  </a:extLst>
                </a:gridCol>
                <a:gridCol w="984582">
                  <a:extLst>
                    <a:ext uri="{9D8B030D-6E8A-4147-A177-3AD203B41FA5}">
                      <a16:colId xmlns:a16="http://schemas.microsoft.com/office/drawing/2014/main" val="3012833808"/>
                    </a:ext>
                  </a:extLst>
                </a:gridCol>
              </a:tblGrid>
              <a:tr h="288000">
                <a:tc gridSpan="6"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altLang="ko-KR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West Course(Out)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32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99951356"/>
                  </a:ext>
                </a:extLst>
              </a:tr>
              <a:tr h="288000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출발 홀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32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조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32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Team CLASSIC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32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MBK CorpoS" panose="020B0503000000000000" pitchFamily="50" charset="-127"/>
                        <a:ea typeface="MBK CorpoS" panose="020B0503000000000000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Team NEO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32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MBK CorpoS" panose="020B0503000000000000" pitchFamily="50" charset="-127"/>
                        <a:ea typeface="MBK CorpoS" panose="020B0503000000000000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MBK CorpoS" panose="020B0503000000000000" pitchFamily="50" charset="-127"/>
                        <a:ea typeface="MBK CorpoS" panose="020B0503000000000000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MBK CorpoS" panose="020B0503000000000000" pitchFamily="50" charset="-127"/>
                        <a:ea typeface="MBK CorpoS" panose="020B0503000000000000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성명</a:t>
                      </a:r>
                      <a:endParaRPr kumimoji="0" lang="en-US" altLang="ko-KR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32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MBK CorpoS" panose="020B0503000000000000" pitchFamily="50" charset="-127"/>
                        <a:ea typeface="MBK CorpoS" panose="020B0503000000000000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성명</a:t>
                      </a:r>
                      <a:endParaRPr kumimoji="0" lang="en-US" altLang="ko-KR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32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MBK CorpoS" panose="020B0503000000000000" pitchFamily="50" charset="-127"/>
                        <a:ea typeface="MBK CorpoS" panose="020B0503000000000000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3167496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H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조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선수</a:t>
                      </a:r>
                      <a:r>
                        <a:rPr lang="en-US" altLang="ko-K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선수</a:t>
                      </a:r>
                      <a:r>
                        <a:rPr lang="en-US" altLang="ko-K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2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선수</a:t>
                      </a:r>
                      <a:r>
                        <a:rPr lang="en-US" altLang="ko-K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3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선수</a:t>
                      </a:r>
                      <a:r>
                        <a:rPr lang="en-US" altLang="ko-K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4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8900247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2H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2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조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128968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3H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3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조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6702305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4H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4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조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3336776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lvl="0" indent="0" algn="ctr" defTabSz="9138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5H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5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조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2142387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lvl="0" indent="0" algn="ctr" defTabSz="9138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6H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6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조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8141354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lvl="0" indent="0" algn="ctr" defTabSz="9138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7H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7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조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6868439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lvl="0" indent="0" algn="ctr" defTabSz="9138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8H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8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조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0795377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lvl="0" indent="0" algn="ctr" defTabSz="9138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9H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-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3930936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D26115F0-9F1B-2DE8-F396-448CB062DC39}"/>
              </a:ext>
            </a:extLst>
          </p:cNvPr>
          <p:cNvSpPr txBox="1"/>
          <p:nvPr/>
        </p:nvSpPr>
        <p:spPr>
          <a:xfrm>
            <a:off x="360850" y="4581551"/>
            <a:ext cx="2411226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000" b="1" kern="1200" dirty="0">
                <a:ln>
                  <a:noFill/>
                </a:ln>
                <a:solidFill>
                  <a:schemeClr val="tx1"/>
                </a:solidFill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*</a:t>
            </a:r>
            <a:r>
              <a:rPr lang="ko-KR" altLang="en-US" sz="1000" b="1" dirty="0">
                <a:latin typeface="LIFEPLUS Light" panose="00000300000000000000" pitchFamily="2" charset="-127"/>
                <a:ea typeface="LIFEPLUS Light" panose="00000300000000000000" pitchFamily="2" charset="-127"/>
              </a:rPr>
              <a:t>개회식 시 </a:t>
            </a:r>
            <a:r>
              <a:rPr lang="ko-KR" altLang="en-US" sz="1000" b="1" kern="1200" dirty="0">
                <a:ln>
                  <a:noFill/>
                </a:ln>
                <a:solidFill>
                  <a:schemeClr val="tx1"/>
                </a:solidFill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캡틴 직접 현장 조 추첨</a:t>
            </a:r>
            <a:endParaRPr lang="en-US" altLang="ko-KR" sz="1000" b="1" kern="1200" dirty="0">
              <a:ln>
                <a:noFill/>
              </a:ln>
              <a:solidFill>
                <a:schemeClr val="tx1"/>
              </a:solidFill>
              <a:latin typeface="LIFEPLUS Light" panose="00000300000000000000" pitchFamily="2" charset="-127"/>
              <a:ea typeface="LIFEPLUS Light" panose="00000300000000000000" pitchFamily="2" charset="-127"/>
              <a:cs typeface="+mn-cs"/>
            </a:endParaRPr>
          </a:p>
          <a:p>
            <a:r>
              <a:rPr lang="en-US" altLang="ko-KR" sz="1000" b="1" dirty="0">
                <a:latin typeface="LIFEPLUS Light" panose="00000300000000000000" pitchFamily="2" charset="-127"/>
                <a:ea typeface="LIFEPLUS Light" panose="00000300000000000000" pitchFamily="2" charset="-127"/>
              </a:rPr>
              <a:t>*</a:t>
            </a:r>
            <a:r>
              <a:rPr lang="ko-KR" altLang="en-US" sz="1000" b="1" kern="1200" dirty="0">
                <a:ln>
                  <a:noFill/>
                </a:ln>
                <a:solidFill>
                  <a:schemeClr val="tx1"/>
                </a:solidFill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사장님 라운드 참여 시 </a:t>
            </a:r>
            <a:r>
              <a:rPr lang="en-US" altLang="ko-KR" sz="1000" b="1" kern="1200" dirty="0">
                <a:ln>
                  <a:noFill/>
                </a:ln>
                <a:solidFill>
                  <a:schemeClr val="tx1"/>
                </a:solidFill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1</a:t>
            </a:r>
            <a:r>
              <a:rPr lang="ko-KR" altLang="en-US" sz="1000" b="1" kern="1200" dirty="0">
                <a:ln>
                  <a:noFill/>
                </a:ln>
                <a:solidFill>
                  <a:schemeClr val="tx1"/>
                </a:solidFill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조 추가 필요</a:t>
            </a:r>
            <a:r>
              <a:rPr lang="en-US" altLang="ko-KR" sz="1000" b="1" kern="1200" dirty="0">
                <a:ln>
                  <a:noFill/>
                </a:ln>
                <a:solidFill>
                  <a:schemeClr val="tx1"/>
                </a:solidFill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/>
            </a:r>
            <a:br>
              <a:rPr lang="en-US" altLang="ko-KR" sz="1000" b="1" kern="1200" dirty="0">
                <a:ln>
                  <a:noFill/>
                </a:ln>
                <a:solidFill>
                  <a:schemeClr val="tx1"/>
                </a:solidFill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</a:br>
            <a:r>
              <a:rPr lang="en-US" altLang="ko-KR" sz="1000" b="1" kern="1200" dirty="0">
                <a:ln>
                  <a:noFill/>
                </a:ln>
                <a:solidFill>
                  <a:schemeClr val="tx1"/>
                </a:solidFill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(</a:t>
            </a:r>
            <a:r>
              <a:rPr lang="ko-KR" altLang="en-US" sz="1000" b="1" dirty="0" err="1">
                <a:latin typeface="LIFEPLUS Light" panose="00000300000000000000" pitchFamily="2" charset="-127"/>
                <a:ea typeface="LIFEPLUS Light" panose="00000300000000000000" pitchFamily="2" charset="-127"/>
              </a:rPr>
              <a:t>티오프</a:t>
            </a:r>
            <a:r>
              <a:rPr lang="ko-KR" altLang="en-US" sz="1000" b="1" dirty="0">
                <a:latin typeface="LIFEPLUS Light" panose="00000300000000000000" pitchFamily="2" charset="-127"/>
                <a:ea typeface="LIFEPLUS Light" panose="00000300000000000000" pitchFamily="2" charset="-127"/>
              </a:rPr>
              <a:t> 시 별도 </a:t>
            </a:r>
            <a:r>
              <a:rPr lang="ko-KR" altLang="en-US" sz="1000" b="1" kern="1200" dirty="0" err="1">
                <a:ln>
                  <a:noFill/>
                </a:ln>
                <a:solidFill>
                  <a:schemeClr val="tx1"/>
                </a:solidFill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어나운스</a:t>
            </a:r>
            <a:r>
              <a:rPr lang="ko-KR" altLang="en-US" sz="1000" b="1" kern="1200" dirty="0">
                <a:ln>
                  <a:noFill/>
                </a:ln>
                <a:solidFill>
                  <a:schemeClr val="tx1"/>
                </a:solidFill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 진행</a:t>
            </a:r>
            <a:r>
              <a:rPr lang="en-US" altLang="ko-KR" sz="1000" b="1" kern="1200" dirty="0">
                <a:ln>
                  <a:noFill/>
                </a:ln>
                <a:solidFill>
                  <a:schemeClr val="tx1"/>
                </a:solidFill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96473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82">
            <a:extLst>
              <a:ext uri="{FF2B5EF4-FFF2-40B4-BE49-F238E27FC236}">
                <a16:creationId xmlns:a16="http://schemas.microsoft.com/office/drawing/2014/main" id="{53427C8A-31C1-F33F-4EE6-03A3B66D64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3275672"/>
              </p:ext>
            </p:extLst>
          </p:nvPr>
        </p:nvGraphicFramePr>
        <p:xfrm>
          <a:off x="907695" y="2219939"/>
          <a:ext cx="10204708" cy="31009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06815">
                  <a:extLst>
                    <a:ext uri="{9D8B030D-6E8A-4147-A177-3AD203B41FA5}">
                      <a16:colId xmlns:a16="http://schemas.microsoft.com/office/drawing/2014/main" val="3179042809"/>
                    </a:ext>
                  </a:extLst>
                </a:gridCol>
                <a:gridCol w="8068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3593163784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66037297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1580701544"/>
                    </a:ext>
                  </a:extLst>
                </a:gridCol>
              </a:tblGrid>
              <a:tr h="0"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Times New Roman"/>
                        </a:rPr>
                        <a:t>HOLE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gridSpan="9"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altLang="ko-KR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West</a:t>
                      </a: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 Course(Out)</a:t>
                      </a: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gridSpan="9"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East Course(In)</a:t>
                      </a: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212725" algn="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50">
                        <a:solidFill>
                          <a:schemeClr val="bg1"/>
                        </a:solidFill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합계</a:t>
                      </a:r>
                      <a:endParaRPr lang="en-US" altLang="ko-KR"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183998"/>
                  </a:ext>
                </a:extLst>
              </a:tr>
              <a:tr h="360000"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2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6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7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8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9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0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1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2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marR="212725" algn="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3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4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5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6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7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8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altLang="ko-KR" sz="1100" b="1" i="0" kern="1200" dirty="0" smtClean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TCH 1</a:t>
                      </a:r>
                      <a:endParaRPr sz="900" b="1" dirty="0">
                        <a:solidFill>
                          <a:schemeClr val="accent2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spc="-5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Par</a:t>
                      </a:r>
                      <a:endParaRPr lang="en-US" altLang="ko-KR" sz="1200" dirty="0" smtClean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00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b="1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72</a:t>
                      </a:r>
                      <a:endParaRPr sz="1000" b="1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0000">
                <a:tc rowSpan="2">
                  <a:txBody>
                    <a:bodyPr/>
                    <a:lstStyle/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Team CLASSIC</a:t>
                      </a: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라이언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4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3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3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5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2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1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0000">
                <a:tc vMerge="1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err="1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어피치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4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2251232"/>
                  </a:ext>
                </a:extLst>
              </a:tr>
              <a:tr h="360000">
                <a:tc gridSpan="2">
                  <a:txBody>
                    <a:bodyPr/>
                    <a:lstStyle/>
                    <a:p>
                      <a:pPr algn="ctr"/>
                      <a:r>
                        <a:rPr lang="en-US" altLang="ko-KR" sz="10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ORE</a:t>
                      </a:r>
                      <a:endParaRPr lang="ko-KR" altLang="en-US" sz="1000" dirty="0"/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ko-KR" altLang="en-US" dirty="0"/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chemeClr val="accent2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1UP</a:t>
                      </a:r>
                      <a:endParaRPr lang="en-US" altLang="ko-KR" sz="1000" b="0" i="0" u="none" strike="noStrike" kern="1200" dirty="0">
                        <a:solidFill>
                          <a:schemeClr val="accent2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2736450"/>
                  </a:ext>
                </a:extLst>
              </a:tr>
              <a:tr h="360000">
                <a:tc rowSpan="2">
                  <a:txBody>
                    <a:bodyPr/>
                    <a:lstStyle/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Team </a:t>
                      </a:r>
                    </a:p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NEO</a:t>
                      </a: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200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춘식이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5</a:t>
                      </a: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2933791"/>
                  </a:ext>
                </a:extLst>
              </a:tr>
              <a:tr h="360000">
                <a:tc vMerge="1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튜브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5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3117426"/>
                  </a:ext>
                </a:extLst>
              </a:tr>
              <a:tr h="360000">
                <a:tc gridSpan="2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altLang="ko-KR" sz="10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ORE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42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1DN</a:t>
                      </a:r>
                      <a:endParaRPr lang="en-US" altLang="ko-KR" sz="1000" b="0" i="0" u="none" strike="noStrike" kern="1200" dirty="0">
                        <a:solidFill>
                          <a:srgbClr val="0042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90441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928653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3149972"/>
              </p:ext>
            </p:extLst>
          </p:nvPr>
        </p:nvGraphicFramePr>
        <p:xfrm>
          <a:off x="695586" y="223328"/>
          <a:ext cx="5946579" cy="31009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28327">
                  <a:extLst>
                    <a:ext uri="{9D8B030D-6E8A-4147-A177-3AD203B41FA5}">
                      <a16:colId xmlns:a16="http://schemas.microsoft.com/office/drawing/2014/main" val="435560562"/>
                    </a:ext>
                  </a:extLst>
                </a:gridCol>
                <a:gridCol w="728327">
                  <a:extLst>
                    <a:ext uri="{9D8B030D-6E8A-4147-A177-3AD203B41FA5}">
                      <a16:colId xmlns:a16="http://schemas.microsoft.com/office/drawing/2014/main" val="2080581012"/>
                    </a:ext>
                  </a:extLst>
                </a:gridCol>
                <a:gridCol w="408175">
                  <a:extLst>
                    <a:ext uri="{9D8B030D-6E8A-4147-A177-3AD203B41FA5}">
                      <a16:colId xmlns:a16="http://schemas.microsoft.com/office/drawing/2014/main" val="1658436542"/>
                    </a:ext>
                  </a:extLst>
                </a:gridCol>
                <a:gridCol w="408175">
                  <a:extLst>
                    <a:ext uri="{9D8B030D-6E8A-4147-A177-3AD203B41FA5}">
                      <a16:colId xmlns:a16="http://schemas.microsoft.com/office/drawing/2014/main" val="3096784927"/>
                    </a:ext>
                  </a:extLst>
                </a:gridCol>
                <a:gridCol w="408175">
                  <a:extLst>
                    <a:ext uri="{9D8B030D-6E8A-4147-A177-3AD203B41FA5}">
                      <a16:colId xmlns:a16="http://schemas.microsoft.com/office/drawing/2014/main" val="2656961717"/>
                    </a:ext>
                  </a:extLst>
                </a:gridCol>
                <a:gridCol w="408175">
                  <a:extLst>
                    <a:ext uri="{9D8B030D-6E8A-4147-A177-3AD203B41FA5}">
                      <a16:colId xmlns:a16="http://schemas.microsoft.com/office/drawing/2014/main" val="2182681781"/>
                    </a:ext>
                  </a:extLst>
                </a:gridCol>
                <a:gridCol w="408175">
                  <a:extLst>
                    <a:ext uri="{9D8B030D-6E8A-4147-A177-3AD203B41FA5}">
                      <a16:colId xmlns:a16="http://schemas.microsoft.com/office/drawing/2014/main" val="935629693"/>
                    </a:ext>
                  </a:extLst>
                </a:gridCol>
                <a:gridCol w="408175">
                  <a:extLst>
                    <a:ext uri="{9D8B030D-6E8A-4147-A177-3AD203B41FA5}">
                      <a16:colId xmlns:a16="http://schemas.microsoft.com/office/drawing/2014/main" val="358203509"/>
                    </a:ext>
                  </a:extLst>
                </a:gridCol>
                <a:gridCol w="408175">
                  <a:extLst>
                    <a:ext uri="{9D8B030D-6E8A-4147-A177-3AD203B41FA5}">
                      <a16:colId xmlns:a16="http://schemas.microsoft.com/office/drawing/2014/main" val="1040126911"/>
                    </a:ext>
                  </a:extLst>
                </a:gridCol>
                <a:gridCol w="408175">
                  <a:extLst>
                    <a:ext uri="{9D8B030D-6E8A-4147-A177-3AD203B41FA5}">
                      <a16:colId xmlns:a16="http://schemas.microsoft.com/office/drawing/2014/main" val="34591762"/>
                    </a:ext>
                  </a:extLst>
                </a:gridCol>
                <a:gridCol w="408175">
                  <a:extLst>
                    <a:ext uri="{9D8B030D-6E8A-4147-A177-3AD203B41FA5}">
                      <a16:colId xmlns:a16="http://schemas.microsoft.com/office/drawing/2014/main" val="664748544"/>
                    </a:ext>
                  </a:extLst>
                </a:gridCol>
                <a:gridCol w="408175">
                  <a:extLst>
                    <a:ext uri="{9D8B030D-6E8A-4147-A177-3AD203B41FA5}">
                      <a16:colId xmlns:a16="http://schemas.microsoft.com/office/drawing/2014/main" val="597929567"/>
                    </a:ext>
                  </a:extLst>
                </a:gridCol>
                <a:gridCol w="408175">
                  <a:extLst>
                    <a:ext uri="{9D8B030D-6E8A-4147-A177-3AD203B41FA5}">
                      <a16:colId xmlns:a16="http://schemas.microsoft.com/office/drawing/2014/main" val="3822874130"/>
                    </a:ext>
                  </a:extLst>
                </a:gridCol>
              </a:tblGrid>
              <a:tr h="0"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Times New Roman"/>
                        </a:rPr>
                        <a:t>HOLE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gridSpan="11"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altLang="ko-KR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West</a:t>
                      </a: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 Course(Out)</a:t>
                      </a: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8069976"/>
                  </a:ext>
                </a:extLst>
              </a:tr>
              <a:tr h="360000"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2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6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7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8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9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 smtClean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OUT</a:t>
                      </a: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1" dirty="0" smtClean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682177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altLang="ko-KR" sz="1100" b="1" i="0" kern="1200" dirty="0" smtClean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TCH 1</a:t>
                      </a:r>
                      <a:endParaRPr sz="900" b="1" dirty="0">
                        <a:solidFill>
                          <a:schemeClr val="accent2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spc="-5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Par</a:t>
                      </a:r>
                      <a:endParaRPr lang="en-US" altLang="ko-KR" sz="1200" dirty="0" smtClean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6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4253613"/>
                  </a:ext>
                </a:extLst>
              </a:tr>
              <a:tr h="360000">
                <a:tc rowSpan="2">
                  <a:txBody>
                    <a:bodyPr/>
                    <a:lstStyle/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Team CLASSIC</a:t>
                      </a: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라이언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4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4607767"/>
                  </a:ext>
                </a:extLst>
              </a:tr>
              <a:tr h="360000">
                <a:tc vMerge="1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err="1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어피치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4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6844732"/>
                  </a:ext>
                </a:extLst>
              </a:tr>
              <a:tr h="360000">
                <a:tc gridSpan="2">
                  <a:txBody>
                    <a:bodyPr/>
                    <a:lstStyle/>
                    <a:p>
                      <a:pPr algn="ctr"/>
                      <a:r>
                        <a:rPr lang="en-US" altLang="ko-KR" sz="10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ORE</a:t>
                      </a:r>
                      <a:endParaRPr lang="ko-KR" altLang="en-US" sz="1000" dirty="0"/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ko-KR" altLang="en-US" dirty="0"/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chemeClr val="accent2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1UP</a:t>
                      </a:r>
                      <a:endParaRPr lang="en-US" altLang="ko-KR" sz="1000" b="0" i="0" u="none" strike="noStrike" kern="1200" dirty="0">
                        <a:solidFill>
                          <a:schemeClr val="accent2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0181106"/>
                  </a:ext>
                </a:extLst>
              </a:tr>
              <a:tr h="360000">
                <a:tc rowSpan="2">
                  <a:txBody>
                    <a:bodyPr/>
                    <a:lstStyle/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Team </a:t>
                      </a:r>
                    </a:p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NEO</a:t>
                      </a: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200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춘식이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5</a:t>
                      </a: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7296861"/>
                  </a:ext>
                </a:extLst>
              </a:tr>
              <a:tr h="360000">
                <a:tc vMerge="1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튜브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5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7042093"/>
                  </a:ext>
                </a:extLst>
              </a:tr>
              <a:tr h="360000">
                <a:tc gridSpan="2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altLang="ko-KR" sz="10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ORE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42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1DN</a:t>
                      </a:r>
                      <a:endParaRPr lang="en-US" altLang="ko-KR" sz="1000" b="0" i="0" u="none" strike="noStrike" kern="1200" dirty="0">
                        <a:solidFill>
                          <a:srgbClr val="0042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049974"/>
                  </a:ext>
                </a:extLst>
              </a:tr>
            </a:tbl>
          </a:graphicData>
        </a:graphic>
      </p:graphicFrame>
      <p:graphicFrame>
        <p:nvGraphicFramePr>
          <p:cNvPr id="5" name="표 4"/>
          <p:cNvGraphicFramePr>
            <a:graphicFrameLocks noGrp="1"/>
          </p:cNvGraphicFramePr>
          <p:nvPr>
            <p:extLst/>
          </p:nvPr>
        </p:nvGraphicFramePr>
        <p:xfrm>
          <a:off x="2164355" y="3324308"/>
          <a:ext cx="4477814" cy="31009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07074">
                  <a:extLst>
                    <a:ext uri="{9D8B030D-6E8A-4147-A177-3AD203B41FA5}">
                      <a16:colId xmlns:a16="http://schemas.microsoft.com/office/drawing/2014/main" val="4178536217"/>
                    </a:ext>
                  </a:extLst>
                </a:gridCol>
                <a:gridCol w="407074">
                  <a:extLst>
                    <a:ext uri="{9D8B030D-6E8A-4147-A177-3AD203B41FA5}">
                      <a16:colId xmlns:a16="http://schemas.microsoft.com/office/drawing/2014/main" val="2330894431"/>
                    </a:ext>
                  </a:extLst>
                </a:gridCol>
                <a:gridCol w="407074">
                  <a:extLst>
                    <a:ext uri="{9D8B030D-6E8A-4147-A177-3AD203B41FA5}">
                      <a16:colId xmlns:a16="http://schemas.microsoft.com/office/drawing/2014/main" val="617382797"/>
                    </a:ext>
                  </a:extLst>
                </a:gridCol>
                <a:gridCol w="407074">
                  <a:extLst>
                    <a:ext uri="{9D8B030D-6E8A-4147-A177-3AD203B41FA5}">
                      <a16:colId xmlns:a16="http://schemas.microsoft.com/office/drawing/2014/main" val="1438807292"/>
                    </a:ext>
                  </a:extLst>
                </a:gridCol>
                <a:gridCol w="407074">
                  <a:extLst>
                    <a:ext uri="{9D8B030D-6E8A-4147-A177-3AD203B41FA5}">
                      <a16:colId xmlns:a16="http://schemas.microsoft.com/office/drawing/2014/main" val="4231198664"/>
                    </a:ext>
                  </a:extLst>
                </a:gridCol>
                <a:gridCol w="407074">
                  <a:extLst>
                    <a:ext uri="{9D8B030D-6E8A-4147-A177-3AD203B41FA5}">
                      <a16:colId xmlns:a16="http://schemas.microsoft.com/office/drawing/2014/main" val="1097696293"/>
                    </a:ext>
                  </a:extLst>
                </a:gridCol>
                <a:gridCol w="407074">
                  <a:extLst>
                    <a:ext uri="{9D8B030D-6E8A-4147-A177-3AD203B41FA5}">
                      <a16:colId xmlns:a16="http://schemas.microsoft.com/office/drawing/2014/main" val="1805759318"/>
                    </a:ext>
                  </a:extLst>
                </a:gridCol>
                <a:gridCol w="407074">
                  <a:extLst>
                    <a:ext uri="{9D8B030D-6E8A-4147-A177-3AD203B41FA5}">
                      <a16:colId xmlns:a16="http://schemas.microsoft.com/office/drawing/2014/main" val="819284343"/>
                    </a:ext>
                  </a:extLst>
                </a:gridCol>
                <a:gridCol w="407074">
                  <a:extLst>
                    <a:ext uri="{9D8B030D-6E8A-4147-A177-3AD203B41FA5}">
                      <a16:colId xmlns:a16="http://schemas.microsoft.com/office/drawing/2014/main" val="626517755"/>
                    </a:ext>
                  </a:extLst>
                </a:gridCol>
                <a:gridCol w="407074">
                  <a:extLst>
                    <a:ext uri="{9D8B030D-6E8A-4147-A177-3AD203B41FA5}">
                      <a16:colId xmlns:a16="http://schemas.microsoft.com/office/drawing/2014/main" val="1803632753"/>
                    </a:ext>
                  </a:extLst>
                </a:gridCol>
                <a:gridCol w="407074">
                  <a:extLst>
                    <a:ext uri="{9D8B030D-6E8A-4147-A177-3AD203B41FA5}">
                      <a16:colId xmlns:a16="http://schemas.microsoft.com/office/drawing/2014/main" val="218736891"/>
                    </a:ext>
                  </a:extLst>
                </a:gridCol>
              </a:tblGrid>
              <a:tr h="0">
                <a:tc gridSpan="9"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 smtClean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East Course(In)</a:t>
                      </a:r>
                      <a:endParaRPr lang="en-US" altLang="ko-KR"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50">
                        <a:solidFill>
                          <a:schemeClr val="bg1"/>
                        </a:solidFill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84922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0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1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2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3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4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5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6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7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8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 smtClean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IN</a:t>
                      </a: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dirty="0" smtClean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합계</a:t>
                      </a:r>
                      <a:endParaRPr lang="en-US" altLang="ko-KR" sz="1200" b="1" dirty="0" smtClean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564893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00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6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72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07871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067858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2587159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65553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312873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3100229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2651095"/>
                  </a:ext>
                </a:extLst>
              </a:tr>
            </a:tbl>
          </a:graphicData>
        </a:graphic>
      </p:graphicFrame>
      <p:graphicFrame>
        <p:nvGraphicFramePr>
          <p:cNvPr id="10" name="표 9"/>
          <p:cNvGraphicFramePr>
            <a:graphicFrameLocks noGrp="1"/>
          </p:cNvGraphicFramePr>
          <p:nvPr>
            <p:extLst/>
          </p:nvPr>
        </p:nvGraphicFramePr>
        <p:xfrm>
          <a:off x="695588" y="3324309"/>
          <a:ext cx="1468772" cy="310125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44222">
                  <a:extLst>
                    <a:ext uri="{9D8B030D-6E8A-4147-A177-3AD203B41FA5}">
                      <a16:colId xmlns:a16="http://schemas.microsoft.com/office/drawing/2014/main" val="2240086606"/>
                    </a:ext>
                  </a:extLst>
                </a:gridCol>
                <a:gridCol w="624550">
                  <a:extLst>
                    <a:ext uri="{9D8B030D-6E8A-4147-A177-3AD203B41FA5}">
                      <a16:colId xmlns:a16="http://schemas.microsoft.com/office/drawing/2014/main" val="1389502969"/>
                    </a:ext>
                  </a:extLst>
                </a:gridCol>
              </a:tblGrid>
              <a:tr h="0"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Times New Roman"/>
                        </a:rPr>
                        <a:t>HOLE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996691"/>
                  </a:ext>
                </a:extLst>
              </a:tr>
              <a:tr h="545058"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8970780"/>
                  </a:ext>
                </a:extLst>
              </a:tr>
              <a:tr h="365020"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altLang="ko-KR" sz="1100" b="1" i="0" kern="1200" dirty="0" smtClean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TCH 1</a:t>
                      </a:r>
                      <a:endParaRPr sz="900" b="1" dirty="0">
                        <a:solidFill>
                          <a:schemeClr val="accent2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spc="-5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Par</a:t>
                      </a:r>
                      <a:endParaRPr lang="en-US" altLang="ko-KR" sz="1200" dirty="0" smtClean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0747172"/>
                  </a:ext>
                </a:extLst>
              </a:tr>
              <a:tr h="351012">
                <a:tc rowSpan="2">
                  <a:txBody>
                    <a:bodyPr/>
                    <a:lstStyle/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Team CLASSIC</a:t>
                      </a: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라이언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8238193"/>
                  </a:ext>
                </a:extLst>
              </a:tr>
              <a:tr h="376446">
                <a:tc vMerge="1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err="1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어피치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6715236"/>
                  </a:ext>
                </a:extLst>
              </a:tr>
              <a:tr h="351012">
                <a:tc gridSpan="2">
                  <a:txBody>
                    <a:bodyPr/>
                    <a:lstStyle/>
                    <a:p>
                      <a:pPr algn="ctr"/>
                      <a:r>
                        <a:rPr lang="en-US" altLang="ko-KR" sz="10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ORE</a:t>
                      </a:r>
                      <a:endParaRPr lang="ko-KR" altLang="en-US" sz="1000" dirty="0"/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ko-KR" altLang="en-US" dirty="0"/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4609752"/>
                  </a:ext>
                </a:extLst>
              </a:tr>
              <a:tr h="351012">
                <a:tc rowSpan="2">
                  <a:txBody>
                    <a:bodyPr/>
                    <a:lstStyle/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Team </a:t>
                      </a:r>
                    </a:p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NEO</a:t>
                      </a: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200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춘식이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2392843"/>
                  </a:ext>
                </a:extLst>
              </a:tr>
              <a:tr h="385287">
                <a:tc vMerge="1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튜브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7475093"/>
                  </a:ext>
                </a:extLst>
              </a:tr>
              <a:tr h="351012">
                <a:tc gridSpan="2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altLang="ko-KR" sz="10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ORE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63091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012484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표 4"/>
          <p:cNvGraphicFramePr>
            <a:graphicFrameLocks noGrp="1"/>
          </p:cNvGraphicFramePr>
          <p:nvPr/>
        </p:nvGraphicFramePr>
        <p:xfrm>
          <a:off x="8738766" y="1483552"/>
          <a:ext cx="1456654" cy="720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22153">
                  <a:extLst>
                    <a:ext uri="{9D8B030D-6E8A-4147-A177-3AD203B41FA5}">
                      <a16:colId xmlns:a16="http://schemas.microsoft.com/office/drawing/2014/main" val="1539655591"/>
                    </a:ext>
                  </a:extLst>
                </a:gridCol>
                <a:gridCol w="734501">
                  <a:extLst>
                    <a:ext uri="{9D8B030D-6E8A-4147-A177-3AD203B41FA5}">
                      <a16:colId xmlns:a16="http://schemas.microsoft.com/office/drawing/2014/main" val="2897418607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춘식이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Team </a:t>
                      </a:r>
                    </a:p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NEO</a:t>
                      </a: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2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151478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튜브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1580389"/>
                  </a:ext>
                </a:extLst>
              </a:tr>
            </a:tbl>
          </a:graphicData>
        </a:graphic>
      </p:graphicFrame>
      <p:graphicFrame>
        <p:nvGraphicFramePr>
          <p:cNvPr id="6" name="표 5"/>
          <p:cNvGraphicFramePr>
            <a:graphicFrameLocks noGrp="1"/>
          </p:cNvGraphicFramePr>
          <p:nvPr/>
        </p:nvGraphicFramePr>
        <p:xfrm>
          <a:off x="1426128" y="1483552"/>
          <a:ext cx="1456654" cy="720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28327">
                  <a:extLst>
                    <a:ext uri="{9D8B030D-6E8A-4147-A177-3AD203B41FA5}">
                      <a16:colId xmlns:a16="http://schemas.microsoft.com/office/drawing/2014/main" val="3106623385"/>
                    </a:ext>
                  </a:extLst>
                </a:gridCol>
                <a:gridCol w="728327">
                  <a:extLst>
                    <a:ext uri="{9D8B030D-6E8A-4147-A177-3AD203B41FA5}">
                      <a16:colId xmlns:a16="http://schemas.microsoft.com/office/drawing/2014/main" val="1344057266"/>
                    </a:ext>
                  </a:extLst>
                </a:gridCol>
              </a:tblGrid>
              <a:tr h="360000">
                <a:tc rowSpan="2">
                  <a:txBody>
                    <a:bodyPr/>
                    <a:lstStyle/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Team CLASSIC</a:t>
                      </a: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라이언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8602052"/>
                  </a:ext>
                </a:extLst>
              </a:tr>
              <a:tr h="360000">
                <a:tc vMerge="1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err="1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어피치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2953695"/>
                  </a:ext>
                </a:extLst>
              </a:tr>
            </a:tbl>
          </a:graphicData>
        </a:graphic>
      </p:graphicFrame>
      <p:grpSp>
        <p:nvGrpSpPr>
          <p:cNvPr id="14" name="그룹 13"/>
          <p:cNvGrpSpPr/>
          <p:nvPr/>
        </p:nvGrpSpPr>
        <p:grpSpPr>
          <a:xfrm>
            <a:off x="5199966" y="1171177"/>
            <a:ext cx="1221616" cy="369332"/>
            <a:chOff x="5174799" y="659448"/>
            <a:chExt cx="1221616" cy="369332"/>
          </a:xfrm>
        </p:grpSpPr>
        <p:sp>
          <p:nvSpPr>
            <p:cNvPr id="8" name="직사각형 7"/>
            <p:cNvSpPr/>
            <p:nvPr/>
          </p:nvSpPr>
          <p:spPr>
            <a:xfrm>
              <a:off x="5174799" y="659448"/>
              <a:ext cx="1221616" cy="36933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7" name="직사각형 6"/>
            <p:cNvSpPr/>
            <p:nvPr/>
          </p:nvSpPr>
          <p:spPr>
            <a:xfrm>
              <a:off x="5174799" y="659448"/>
              <a:ext cx="1221616" cy="369332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wrap="none">
              <a:spAutoFit/>
            </a:bodyPr>
            <a:lstStyle/>
            <a:p>
              <a:pPr marL="3810" algn="ctr">
                <a:lnSpc>
                  <a:spcPct val="100000"/>
                </a:lnSpc>
                <a:spcBef>
                  <a:spcPts val="309"/>
                </a:spcBef>
              </a:pPr>
              <a:r>
                <a:rPr lang="en-US" altLang="ko-KR" b="1" dirty="0">
                  <a:solidFill>
                    <a:schemeClr val="accent2"/>
                  </a:solidFill>
                </a:rPr>
                <a:t>MATCH 1</a:t>
              </a:r>
              <a:endParaRPr lang="en-US" altLang="ko-KR" sz="1200" b="1" dirty="0">
                <a:solidFill>
                  <a:schemeClr val="accent2"/>
                </a:solidFill>
                <a:latin typeface="LIFEPLUS Light" panose="00000300000000000000" pitchFamily="2" charset="-127"/>
                <a:ea typeface="LIFEPLUS Light" panose="00000300000000000000" pitchFamily="2" charset="-127"/>
                <a:cs typeface="MBK CorporateS Light"/>
              </a:endParaRPr>
            </a:p>
          </p:txBody>
        </p:sp>
      </p:grpSp>
      <p:cxnSp>
        <p:nvCxnSpPr>
          <p:cNvPr id="11" name="직선 연결선 10"/>
          <p:cNvCxnSpPr/>
          <p:nvPr/>
        </p:nvCxnSpPr>
        <p:spPr>
          <a:xfrm>
            <a:off x="1426128" y="1057013"/>
            <a:ext cx="900138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직선 연결선 11"/>
          <p:cNvCxnSpPr/>
          <p:nvPr/>
        </p:nvCxnSpPr>
        <p:spPr>
          <a:xfrm flipV="1">
            <a:off x="1426128" y="2608976"/>
            <a:ext cx="9001388" cy="139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직사각형 16"/>
          <p:cNvSpPr/>
          <p:nvPr/>
        </p:nvSpPr>
        <p:spPr>
          <a:xfrm>
            <a:off x="1426128" y="643878"/>
            <a:ext cx="805344" cy="3103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 smtClean="0"/>
              <a:t>1</a:t>
            </a:r>
            <a:r>
              <a:rPr lang="ko-KR" altLang="en-US" dirty="0" smtClean="0"/>
              <a:t>조</a:t>
            </a:r>
            <a:endParaRPr lang="ko-KR" altLang="en-US" dirty="0"/>
          </a:p>
        </p:txBody>
      </p:sp>
      <p:sp>
        <p:nvSpPr>
          <p:cNvPr id="20" name="순서도: 수행의 시작/종료 19"/>
          <p:cNvSpPr/>
          <p:nvPr/>
        </p:nvSpPr>
        <p:spPr>
          <a:xfrm>
            <a:off x="3464654" y="1667383"/>
            <a:ext cx="746620" cy="352337"/>
          </a:xfrm>
          <a:prstGeom prst="flowChartTerminator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/>
              <a:t>1UP</a:t>
            </a:r>
            <a:endParaRPr lang="ko-KR" altLang="en-US" b="1" dirty="0"/>
          </a:p>
        </p:txBody>
      </p:sp>
      <p:sp>
        <p:nvSpPr>
          <p:cNvPr id="21" name="순서도: 수행의 시작/종료 20"/>
          <p:cNvSpPr/>
          <p:nvPr/>
        </p:nvSpPr>
        <p:spPr>
          <a:xfrm>
            <a:off x="7299821" y="1667383"/>
            <a:ext cx="746620" cy="352337"/>
          </a:xfrm>
          <a:prstGeom prst="flowChartTerminator">
            <a:avLst/>
          </a:prstGeom>
          <a:solidFill>
            <a:srgbClr val="004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/>
              <a:t>1DN</a:t>
            </a:r>
            <a:endParaRPr lang="ko-KR" altLang="en-US" b="1" dirty="0"/>
          </a:p>
        </p:txBody>
      </p:sp>
      <p:graphicFrame>
        <p:nvGraphicFramePr>
          <p:cNvPr id="22" name="object 82">
            <a:extLst>
              <a:ext uri="{FF2B5EF4-FFF2-40B4-BE49-F238E27FC236}">
                <a16:creationId xmlns:a16="http://schemas.microsoft.com/office/drawing/2014/main" id="{53427C8A-31C1-F33F-4EE6-03A3B66D646C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899306" y="2949781"/>
          <a:ext cx="10204708" cy="31009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06815">
                  <a:extLst>
                    <a:ext uri="{9D8B030D-6E8A-4147-A177-3AD203B41FA5}">
                      <a16:colId xmlns:a16="http://schemas.microsoft.com/office/drawing/2014/main" val="3179042809"/>
                    </a:ext>
                  </a:extLst>
                </a:gridCol>
                <a:gridCol w="8068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3593163784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66037297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1580701544"/>
                    </a:ext>
                  </a:extLst>
                </a:gridCol>
              </a:tblGrid>
              <a:tr h="0"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Times New Roman"/>
                        </a:rPr>
                        <a:t>HOLE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gridSpan="9"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altLang="ko-KR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West</a:t>
                      </a: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 Course(Out)</a:t>
                      </a: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gridSpan="9"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East Course(In)</a:t>
                      </a: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212725" algn="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50">
                        <a:solidFill>
                          <a:schemeClr val="bg1"/>
                        </a:solidFill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합계</a:t>
                      </a:r>
                      <a:endParaRPr lang="en-US" altLang="ko-KR"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183998"/>
                  </a:ext>
                </a:extLst>
              </a:tr>
              <a:tr h="360000"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2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6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7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8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9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0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1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2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marR="212725" algn="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3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4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5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6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7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8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altLang="ko-KR" sz="1100" b="1" i="0" kern="1200" dirty="0" smtClean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TCH 1</a:t>
                      </a:r>
                      <a:endParaRPr sz="900" b="1" dirty="0">
                        <a:solidFill>
                          <a:schemeClr val="accent2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spc="-5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Par</a:t>
                      </a:r>
                      <a:endParaRPr lang="en-US" altLang="ko-KR" sz="1200" dirty="0" smtClean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00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b="1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72</a:t>
                      </a:r>
                      <a:endParaRPr sz="1000" b="1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0000">
                <a:tc rowSpan="2">
                  <a:txBody>
                    <a:bodyPr/>
                    <a:lstStyle/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Team CLASSIC</a:t>
                      </a: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라이언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4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3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3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5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2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1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0000">
                <a:tc vMerge="1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err="1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어피치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4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2251232"/>
                  </a:ext>
                </a:extLst>
              </a:tr>
              <a:tr h="360000">
                <a:tc gridSpan="2">
                  <a:txBody>
                    <a:bodyPr/>
                    <a:lstStyle/>
                    <a:p>
                      <a:pPr algn="ctr"/>
                      <a:r>
                        <a:rPr lang="en-US" altLang="ko-KR" sz="10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ORE</a:t>
                      </a:r>
                      <a:endParaRPr lang="ko-KR" altLang="en-US" sz="1000" dirty="0"/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ko-KR" altLang="en-US" dirty="0"/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chemeClr val="accent2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1UP</a:t>
                      </a:r>
                      <a:endParaRPr lang="en-US" altLang="ko-KR" sz="1000" b="0" i="0" u="none" strike="noStrike" kern="1200" dirty="0">
                        <a:solidFill>
                          <a:schemeClr val="accent2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2736450"/>
                  </a:ext>
                </a:extLst>
              </a:tr>
              <a:tr h="360000">
                <a:tc rowSpan="2">
                  <a:txBody>
                    <a:bodyPr/>
                    <a:lstStyle/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Team </a:t>
                      </a:r>
                    </a:p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NEO</a:t>
                      </a: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200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춘식이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5</a:t>
                      </a: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2933791"/>
                  </a:ext>
                </a:extLst>
              </a:tr>
              <a:tr h="360000">
                <a:tc vMerge="1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튜브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5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3117426"/>
                  </a:ext>
                </a:extLst>
              </a:tr>
              <a:tr h="360000">
                <a:tc gridSpan="2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altLang="ko-KR" sz="10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ORE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42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1DN</a:t>
                      </a:r>
                      <a:endParaRPr lang="en-US" altLang="ko-KR" sz="1000" b="0" i="0" u="none" strike="noStrike" kern="1200" dirty="0">
                        <a:solidFill>
                          <a:srgbClr val="0042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90441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314635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5rpSaoKkKVnob96nIWK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3UwdXsPUqQBDytdOoqH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5rpSaoKkKVnob96nIWK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3UwdXsPUqQBDytdOoqH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5rpSaoKkKVnob96nIWK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5rpSaoKkKVnob96nIWK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3UwdXsPUqQBDytdOoqH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5rpSaoKkKVnob96nIWK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3UwdXsPUqQBDytdOoqH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5rpSaoKkKVnob96nIWK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3UwdXsPUqQBDytdOoqH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5rpSaoKkKVnob96nIWK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3UwdXsPUqQBDytdOoqH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3UwdXsPUqQBDytdOoqH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5rpSaoKkKVnob96nIWK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3UwdXsPUqQBDytdOoqHQ"/>
</p:tagLst>
</file>

<file path=ppt/theme/theme1.xml><?xml version="1.0" encoding="utf-8"?>
<a:theme xmlns:a="http://schemas.openxmlformats.org/drawingml/2006/main" name="20140415_Template">
  <a:themeElements>
    <a:clrScheme name="HW">
      <a:dk1>
        <a:srgbClr val="000000"/>
      </a:dk1>
      <a:lt1>
        <a:srgbClr val="FFFFFF"/>
      </a:lt1>
      <a:dk2>
        <a:srgbClr val="000000"/>
      </a:dk2>
      <a:lt2>
        <a:srgbClr val="BFBFBF"/>
      </a:lt2>
      <a:accent1>
        <a:srgbClr val="595959"/>
      </a:accent1>
      <a:accent2>
        <a:srgbClr val="F37321"/>
      </a:accent2>
      <a:accent3>
        <a:srgbClr val="BFBFBF"/>
      </a:accent3>
      <a:accent4>
        <a:srgbClr val="FFFFFF"/>
      </a:accent4>
      <a:accent5>
        <a:srgbClr val="FFFFFF"/>
      </a:accent5>
      <a:accent6>
        <a:srgbClr val="FFFFFF"/>
      </a:accent6>
      <a:hlink>
        <a:srgbClr val="0070C0"/>
      </a:hlink>
      <a:folHlink>
        <a:srgbClr val="0070C0"/>
      </a:folHlink>
    </a:clrScheme>
    <a:fontScheme name="HW">
      <a:majorFont>
        <a:latin typeface="Arial"/>
        <a:ea typeface="맑은 고딕"/>
        <a:cs typeface=""/>
      </a:majorFont>
      <a:minorFont>
        <a:latin typeface="Arial"/>
        <a:ea typeface="맑은 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9525" cap="flat" cmpd="sng" algn="ctr">
          <a:solidFill>
            <a:schemeClr val="bg2"/>
          </a:solidFill>
          <a:prstDash val="solid"/>
          <a:miter lim="800000"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sz="1200" dirty="0">
            <a:latin typeface="LIFEPLUS Light" panose="00000300000000000000" pitchFamily="2" charset="-127"/>
            <a:ea typeface="LIFEPLUS Light" panose="00000300000000000000" pitchFamily="2" charset="-127"/>
            <a:cs typeface="Arial" charset="0"/>
          </a:defRPr>
        </a:defPPr>
      </a:lstStyle>
    </a:spDef>
    <a:lnDef>
      <a:spPr bwMode="auto">
        <a:solidFill>
          <a:schemeClr val="bg1"/>
        </a:solidFill>
        <a:ln w="9525" cap="flat" cmpd="sng" algn="ctr">
          <a:solidFill>
            <a:schemeClr val="bg1">
              <a:lumMod val="75000"/>
            </a:schemeClr>
          </a:solidFill>
          <a:prstDash val="solid"/>
          <a:miter lim="800000"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vert="horz" wrap="none" tIns="54000" bIns="54000" rtlCol="0" anchor="t">
        <a:spAutoFit/>
      </a:bodyPr>
      <a:lstStyle>
        <a:defPPr eaLnBrk="0" hangingPunct="0">
          <a:buClr>
            <a:schemeClr val="accent1"/>
          </a:buClr>
          <a:buSzPct val="65000"/>
          <a:defRPr dirty="0" smtClean="0">
            <a:latin typeface="+mn-lt"/>
            <a:ea typeface="+mn-ea"/>
          </a:defRPr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82B5CA"/>
        </a:dk2>
        <a:lt2>
          <a:srgbClr val="669933"/>
        </a:lt2>
        <a:accent1>
          <a:srgbClr val="660033"/>
        </a:accent1>
        <a:accent2>
          <a:srgbClr val="067875"/>
        </a:accent2>
        <a:accent3>
          <a:srgbClr val="FFFFFF"/>
        </a:accent3>
        <a:accent4>
          <a:srgbClr val="000000"/>
        </a:accent4>
        <a:accent5>
          <a:srgbClr val="B8AAAD"/>
        </a:accent5>
        <a:accent6>
          <a:srgbClr val="056C69"/>
        </a:accent6>
        <a:hlink>
          <a:srgbClr val="FEC024"/>
        </a:hlink>
        <a:folHlink>
          <a:srgbClr val="17496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3399"/>
        </a:dk2>
        <a:lt2>
          <a:srgbClr val="CCFF99"/>
        </a:lt2>
        <a:accent1>
          <a:srgbClr val="008000"/>
        </a:accent1>
        <a:accent2>
          <a:srgbClr val="FFCC66"/>
        </a:accent2>
        <a:accent3>
          <a:srgbClr val="AAADCA"/>
        </a:accent3>
        <a:accent4>
          <a:srgbClr val="DADADA"/>
        </a:accent4>
        <a:accent5>
          <a:srgbClr val="AAC0AA"/>
        </a:accent5>
        <a:accent6>
          <a:srgbClr val="E7B95C"/>
        </a:accent6>
        <a:hlink>
          <a:srgbClr val="0099CC"/>
        </a:hlink>
        <a:folHlink>
          <a:srgbClr val="99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DDDDDD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A1A1A1"/>
        </a:accent6>
        <a:hlink>
          <a:srgbClr val="808080"/>
        </a:hlink>
        <a:folHlink>
          <a:srgbClr val="5F5F5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FFFFFF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E7E7E7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99E4FF"/>
        </a:dk2>
        <a:lt2>
          <a:srgbClr val="3AB721"/>
        </a:lt2>
        <a:accent1>
          <a:srgbClr val="CC3300"/>
        </a:accent1>
        <a:accent2>
          <a:srgbClr val="00ACA8"/>
        </a:accent2>
        <a:accent3>
          <a:srgbClr val="FFFFFF"/>
        </a:accent3>
        <a:accent4>
          <a:srgbClr val="000000"/>
        </a:accent4>
        <a:accent5>
          <a:srgbClr val="E2ADAA"/>
        </a:accent5>
        <a:accent6>
          <a:srgbClr val="009B98"/>
        </a:accent6>
        <a:hlink>
          <a:srgbClr val="FFCC00"/>
        </a:hlink>
        <a:folHlink>
          <a:srgbClr val="3366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0000"/>
        </a:dk1>
        <a:lt1>
          <a:srgbClr val="FFFFFF"/>
        </a:lt1>
        <a:dk2>
          <a:srgbClr val="82B5CA"/>
        </a:dk2>
        <a:lt2>
          <a:srgbClr val="067875"/>
        </a:lt2>
        <a:accent1>
          <a:srgbClr val="660033"/>
        </a:accent1>
        <a:accent2>
          <a:srgbClr val="FEC024"/>
        </a:accent2>
        <a:accent3>
          <a:srgbClr val="FFFFFF"/>
        </a:accent3>
        <a:accent4>
          <a:srgbClr val="000000"/>
        </a:accent4>
        <a:accent5>
          <a:srgbClr val="B8AAAD"/>
        </a:accent5>
        <a:accent6>
          <a:srgbClr val="E6AE20"/>
        </a:accent6>
        <a:hlink>
          <a:srgbClr val="17496F"/>
        </a:hlink>
        <a:folHlink>
          <a:srgbClr val="66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7">
        <a:dk1>
          <a:srgbClr val="000000"/>
        </a:dk1>
        <a:lt1>
          <a:srgbClr val="FFFFFF"/>
        </a:lt1>
        <a:dk2>
          <a:srgbClr val="FAE3A4"/>
        </a:dk2>
        <a:lt2>
          <a:srgbClr val="067875"/>
        </a:lt2>
        <a:accent1>
          <a:srgbClr val="17496F"/>
        </a:accent1>
        <a:accent2>
          <a:srgbClr val="82B5CA"/>
        </a:accent2>
        <a:accent3>
          <a:srgbClr val="FFFFFF"/>
        </a:accent3>
        <a:accent4>
          <a:srgbClr val="000000"/>
        </a:accent4>
        <a:accent5>
          <a:srgbClr val="ABB1BB"/>
        </a:accent5>
        <a:accent6>
          <a:srgbClr val="75A4B7"/>
        </a:accent6>
        <a:hlink>
          <a:srgbClr val="6490CB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8">
        <a:dk1>
          <a:srgbClr val="000000"/>
        </a:dk1>
        <a:lt1>
          <a:srgbClr val="FFFFFF"/>
        </a:lt1>
        <a:dk2>
          <a:srgbClr val="FAE3A4"/>
        </a:dk2>
        <a:lt2>
          <a:srgbClr val="067875"/>
        </a:lt2>
        <a:accent1>
          <a:srgbClr val="17496F"/>
        </a:accent1>
        <a:accent2>
          <a:srgbClr val="6490CB"/>
        </a:accent2>
        <a:accent3>
          <a:srgbClr val="FFFFFF"/>
        </a:accent3>
        <a:accent4>
          <a:srgbClr val="000000"/>
        </a:accent4>
        <a:accent5>
          <a:srgbClr val="ABB1BB"/>
        </a:accent5>
        <a:accent6>
          <a:srgbClr val="5A82B8"/>
        </a:accent6>
        <a:hlink>
          <a:srgbClr val="82B5CA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9">
        <a:dk1>
          <a:srgbClr val="000000"/>
        </a:dk1>
        <a:lt1>
          <a:srgbClr val="FFFFFF"/>
        </a:lt1>
        <a:dk2>
          <a:srgbClr val="FAE3A4"/>
        </a:dk2>
        <a:lt2>
          <a:srgbClr val="067875"/>
        </a:lt2>
        <a:accent1>
          <a:srgbClr val="17496F"/>
        </a:accent1>
        <a:accent2>
          <a:srgbClr val="ADC2D3"/>
        </a:accent2>
        <a:accent3>
          <a:srgbClr val="FFFFFF"/>
        </a:accent3>
        <a:accent4>
          <a:srgbClr val="000000"/>
        </a:accent4>
        <a:accent5>
          <a:srgbClr val="ABB1BB"/>
        </a:accent5>
        <a:accent6>
          <a:srgbClr val="9CB0BF"/>
        </a:accent6>
        <a:hlink>
          <a:srgbClr val="82B5CA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0">
        <a:dk1>
          <a:srgbClr val="000000"/>
        </a:dk1>
        <a:lt1>
          <a:srgbClr val="FFFFFF"/>
        </a:lt1>
        <a:dk2>
          <a:srgbClr val="BCD1B3"/>
        </a:dk2>
        <a:lt2>
          <a:srgbClr val="067875"/>
        </a:lt2>
        <a:accent1>
          <a:srgbClr val="17496F"/>
        </a:accent1>
        <a:accent2>
          <a:srgbClr val="ADC2D3"/>
        </a:accent2>
        <a:accent3>
          <a:srgbClr val="FFFFFF"/>
        </a:accent3>
        <a:accent4>
          <a:srgbClr val="000000"/>
        </a:accent4>
        <a:accent5>
          <a:srgbClr val="ABB1BB"/>
        </a:accent5>
        <a:accent6>
          <a:srgbClr val="9CB0BF"/>
        </a:accent6>
        <a:hlink>
          <a:srgbClr val="82B5CA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4FB13B6CCD0CE40A0EBACA77B6CF7B5" ma:contentTypeVersion="16" ma:contentTypeDescription="Create a new document." ma:contentTypeScope="" ma:versionID="83fd1c3d35f8346f550d89925af81b49">
  <xsd:schema xmlns:xsd="http://www.w3.org/2001/XMLSchema" xmlns:xs="http://www.w3.org/2001/XMLSchema" xmlns:p="http://schemas.microsoft.com/office/2006/metadata/properties" xmlns:ns3="5eade1f1-596b-4709-ae0b-25530230d9e0" xmlns:ns4="de96cd99-5c6d-42f9-89f0-da575a16f57f" targetNamespace="http://schemas.microsoft.com/office/2006/metadata/properties" ma:root="true" ma:fieldsID="3e857438db7b14fecc281af9e71a92bf" ns3:_="" ns4:_="">
    <xsd:import namespace="5eade1f1-596b-4709-ae0b-25530230d9e0"/>
    <xsd:import namespace="de96cd99-5c6d-42f9-89f0-da575a16f57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LengthInSeconds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  <xsd:element ref="ns3:_activity" minOccurs="0"/>
                <xsd:element ref="ns3:MediaServiceObjectDetectorVersions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ade1f1-596b-4709-ae0b-25530230d9e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_activity" ma:index="20" nillable="true" ma:displayName="_activity" ma:hidden="true" ma:internalName="_activity">
      <xsd:simpleType>
        <xsd:restriction base="dms:Note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22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e96cd99-5c6d-42f9-89f0-da575a16f57f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9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5eade1f1-596b-4709-ae0b-25530230d9e0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5297E6C-F6E7-43C1-AC8E-1306F7C89F07}">
  <ds:schemaRefs>
    <ds:schemaRef ds:uri="5eade1f1-596b-4709-ae0b-25530230d9e0"/>
    <ds:schemaRef ds:uri="de96cd99-5c6d-42f9-89f0-da575a16f57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6903E4E9-E35D-4238-858C-F7AC027FE926}">
  <ds:schemaRefs>
    <ds:schemaRef ds:uri="http://schemas.microsoft.com/office/2006/metadata/properties"/>
    <ds:schemaRef ds:uri="de96cd99-5c6d-42f9-89f0-da575a16f57f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5eade1f1-596b-4709-ae0b-25530230d9e0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60617A37-FBBC-483F-AD46-E5E3ED2A01B3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39c00109-0cc4-4696-a37f-f508549773f6}" enabled="1" method="Standard" siteId="{d1eef0de-ce65-4ffc-8826-8306735bccb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7741</TotalTime>
  <Words>832</Words>
  <Application>Microsoft Office PowerPoint</Application>
  <PresentationFormat>와이드스크린</PresentationFormat>
  <Paragraphs>471</Paragraphs>
  <Slides>10</Slides>
  <Notes>4</Notes>
  <HiddenSlides>0</HiddenSlides>
  <MMClips>0</MMClips>
  <ScaleCrop>false</ScaleCrop>
  <HeadingPairs>
    <vt:vector size="8" baseType="variant">
      <vt:variant>
        <vt:lpstr>사용한 글꼴</vt:lpstr>
      </vt:variant>
      <vt:variant>
        <vt:i4>13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0</vt:i4>
      </vt:variant>
    </vt:vector>
  </HeadingPairs>
  <TitlesOfParts>
    <vt:vector size="25" baseType="lpstr">
      <vt:lpstr>HG꼬딕씨 40g</vt:lpstr>
      <vt:lpstr>HG꼬딕씨 60g</vt:lpstr>
      <vt:lpstr>LIFEPLUS Bold</vt:lpstr>
      <vt:lpstr>LIFEPLUS Light</vt:lpstr>
      <vt:lpstr>LIFEPLUS 본문 Medium</vt:lpstr>
      <vt:lpstr>MBK CorporateS Light</vt:lpstr>
      <vt:lpstr>나눔고딕</vt:lpstr>
      <vt:lpstr>나눔고딕 ExtraBold</vt:lpstr>
      <vt:lpstr>돋움</vt:lpstr>
      <vt:lpstr>맑은 고딕</vt:lpstr>
      <vt:lpstr>Arial</vt:lpstr>
      <vt:lpstr>Times New Roman</vt:lpstr>
      <vt:lpstr>Wingdings</vt:lpstr>
      <vt:lpstr>20140415_Template</vt:lpstr>
      <vt:lpstr>think-cell Slide</vt:lpstr>
      <vt:lpstr>PowerPoint 프레젠테이션</vt:lpstr>
      <vt:lpstr>대회 엠블럼</vt:lpstr>
      <vt:lpstr>대회 엠블럼_팀 로고</vt:lpstr>
      <vt:lpstr>대회 개요</vt:lpstr>
      <vt:lpstr>대회 장소</vt:lpstr>
      <vt:lpstr>조편성표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>한화생명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HANWHALIFE</dc:creator>
  <cp:lastModifiedBy>unbiz</cp:lastModifiedBy>
  <cp:revision>922</cp:revision>
  <cp:lastPrinted>2024-07-02T08:16:54Z</cp:lastPrinted>
  <dcterms:created xsi:type="dcterms:W3CDTF">2023-12-04T06:23:38Z</dcterms:created>
  <dcterms:modified xsi:type="dcterms:W3CDTF">2024-07-24T05:37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FB13B6CCD0CE40A0EBACA77B6CF7B5</vt:lpwstr>
  </property>
  <property fmtid="{D5CDD505-2E9C-101B-9397-08002B2CF9AE}" pid="3" name="MediaServiceImageTags">
    <vt:lpwstr/>
  </property>
</Properties>
</file>